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1" r:id="rId4"/>
    <p:sldMasterId id="2147483817" r:id="rId5"/>
    <p:sldMasterId id="2147483824" r:id="rId6"/>
  </p:sldMasterIdLst>
  <p:notesMasterIdLst>
    <p:notesMasterId r:id="rId18"/>
  </p:notesMasterIdLst>
  <p:handoutMasterIdLst>
    <p:handoutMasterId r:id="rId19"/>
  </p:handoutMasterIdLst>
  <p:sldIdLst>
    <p:sldId id="546" r:id="rId7"/>
    <p:sldId id="2141411554" r:id="rId8"/>
    <p:sldId id="2141411563" r:id="rId9"/>
    <p:sldId id="2141411564" r:id="rId10"/>
    <p:sldId id="2141411555" r:id="rId11"/>
    <p:sldId id="2141411565" r:id="rId12"/>
    <p:sldId id="2141411566" r:id="rId13"/>
    <p:sldId id="2141411567" r:id="rId14"/>
    <p:sldId id="2141411568" r:id="rId15"/>
    <p:sldId id="2141411569" r:id="rId16"/>
    <p:sldId id="2141411444" r:id="rId17"/>
  </p:sldIdLst>
  <p:sldSz cx="12192000" cy="6858000"/>
  <p:notesSz cx="6670675" cy="9777413"/>
  <p:custDataLst>
    <p:tags r:id="rId20"/>
  </p:custDataLst>
  <p:defaultTextStyle>
    <a:defPPr>
      <a:defRPr lang="en-GB"/>
    </a:defPPr>
    <a:lvl1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2400" b="1">
        <a:solidFill>
          <a:schemeClr val="accent1"/>
        </a:solidFill>
        <a:latin typeface="+mn-lt"/>
        <a:ea typeface="+mn-ea"/>
        <a:cs typeface="+mn-cs"/>
      </a:defRPr>
    </a:lvl1pPr>
    <a:lvl2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2400">
        <a:solidFill>
          <a:schemeClr val="tx1"/>
        </a:solidFill>
        <a:latin typeface="+mn-lt"/>
        <a:ea typeface="+mn-ea"/>
      </a:defRPr>
    </a:lvl2pPr>
    <a:lvl3pPr marL="359991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•"/>
      <a:defRPr sz="2400">
        <a:solidFill>
          <a:schemeClr val="tx1"/>
        </a:solidFill>
        <a:latin typeface="+mn-lt"/>
        <a:ea typeface="+mn-ea"/>
      </a:defRPr>
    </a:lvl3pPr>
    <a:lvl4pPr marL="719982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-"/>
      <a:defRPr sz="2400">
        <a:solidFill>
          <a:schemeClr val="tx1"/>
        </a:solidFill>
        <a:latin typeface="+mn-lt"/>
        <a:ea typeface="+mn-ea"/>
      </a:defRPr>
    </a:lvl4pPr>
    <a:lvl5pPr marL="1079973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◦"/>
      <a:defRPr sz="2400">
        <a:solidFill>
          <a:schemeClr val="tx1"/>
        </a:solidFill>
        <a:latin typeface="+mn-lt"/>
        <a:ea typeface="+mn-ea"/>
      </a:defRPr>
    </a:lvl5pPr>
    <a:lvl6pPr marL="0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arabicPeriod"/>
      <a:defRPr sz="2400">
        <a:solidFill>
          <a:schemeClr val="tx1"/>
        </a:solidFill>
        <a:latin typeface="+mn-lt"/>
        <a:ea typeface="+mn-ea"/>
      </a:defRPr>
    </a:lvl6pPr>
    <a:lvl7pPr marL="719982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alphaLcPeriod"/>
      <a:defRPr sz="2400">
        <a:solidFill>
          <a:schemeClr val="tx1"/>
        </a:solidFill>
        <a:latin typeface="+mn-lt"/>
        <a:ea typeface="+mn-ea"/>
      </a:defRPr>
    </a:lvl7pPr>
    <a:lvl8pPr marL="1079973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romanLcPeriod"/>
      <a:defRPr sz="2400">
        <a:solidFill>
          <a:schemeClr val="tx1"/>
        </a:solidFill>
        <a:latin typeface="+mn-lt"/>
        <a:ea typeface="+mn-ea"/>
      </a:defRPr>
    </a:lvl8pPr>
    <a:lvl9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3200">
        <a:solidFill>
          <a:schemeClr val="accent2"/>
        </a:solidFill>
        <a:latin typeface="+mn-lt"/>
        <a:ea typeface="+mn-ea"/>
      </a:defRPr>
    </a:lvl9pPr>
  </p:defaultTextStyle>
  <p:extLst>
    <p:ext uri="{EFAFB233-063F-42B5-8137-9DF3F51BA10A}">
      <p15:sldGuideLst xmlns:p15="http://schemas.microsoft.com/office/powerpoint/2012/main">
        <p15:guide id="1" orient="horz" pos="1711" userDrawn="1">
          <p15:clr>
            <a:srgbClr val="A4A3A4"/>
          </p15:clr>
        </p15:guide>
        <p15:guide id="2" pos="1329" userDrawn="1">
          <p15:clr>
            <a:srgbClr val="A4A3A4"/>
          </p15:clr>
        </p15:guide>
        <p15:guide id="3" orient="horz" pos="40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rah McGugan" initials="ZM" lastIdx="2" clrIdx="0"/>
  <p:cmAuthor id="2" name="Klein, Alexander" initials="KA" lastIdx="14" clrIdx="1">
    <p:extLst>
      <p:ext uri="{19B8F6BF-5375-455C-9EA6-DF929625EA0E}">
        <p15:presenceInfo xmlns:p15="http://schemas.microsoft.com/office/powerpoint/2012/main" userId="S::Alexander.Klein@us.nationalgrid.com::84404c71-b403-4d87-83a8-1ddda009c8b4" providerId="AD"/>
      </p:ext>
    </p:extLst>
  </p:cmAuthor>
  <p:cmAuthor id="3" name="Semal, Clara" initials="SC" lastIdx="87" clrIdx="2">
    <p:extLst>
      <p:ext uri="{19B8F6BF-5375-455C-9EA6-DF929625EA0E}">
        <p15:presenceInfo xmlns:p15="http://schemas.microsoft.com/office/powerpoint/2012/main" userId="S::clara.semal@uk.nationalgrid.com::5435f734-6afc-41a4-b770-4d57144dff8a" providerId="AD"/>
      </p:ext>
    </p:extLst>
  </p:cmAuthor>
  <p:cmAuthor id="4" name="McCormick, Terry" initials="MT" lastIdx="5" clrIdx="3">
    <p:extLst>
      <p:ext uri="{19B8F6BF-5375-455C-9EA6-DF929625EA0E}">
        <p15:presenceInfo xmlns:p15="http://schemas.microsoft.com/office/powerpoint/2012/main" userId="S::Terry.McCormick@uk.nationalgrid.com::6d75a41a-2cb9-4f4b-a72a-33ccbcd32c9d" providerId="AD"/>
      </p:ext>
    </p:extLst>
  </p:cmAuthor>
  <p:cmAuthor id="5" name="Schulte, Alexander" initials="SA" lastIdx="2" clrIdx="4">
    <p:extLst>
      <p:ext uri="{19B8F6BF-5375-455C-9EA6-DF929625EA0E}">
        <p15:presenceInfo xmlns:p15="http://schemas.microsoft.com/office/powerpoint/2012/main" userId="S::Alexander.Schulte@us.nationalgrid.com::a8a45f41-271c-4ce4-abf8-f9c5e76b14d7" providerId="AD"/>
      </p:ext>
    </p:extLst>
  </p:cmAuthor>
  <p:cmAuthor id="6" name="Hanson, Kevin" initials="HK" lastIdx="1" clrIdx="5">
    <p:extLst>
      <p:ext uri="{19B8F6BF-5375-455C-9EA6-DF929625EA0E}">
        <p15:presenceInfo xmlns:p15="http://schemas.microsoft.com/office/powerpoint/2012/main" userId="S::Kevin.Hanson@us.nationalgrid.com::e60c6aad-8614-4884-8dc2-e8f78e5022b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33"/>
    <a:srgbClr val="A50021"/>
    <a:srgbClr val="50DBE6"/>
    <a:srgbClr val="125F7A"/>
    <a:srgbClr val="EEB0AE"/>
    <a:srgbClr val="DF7F7F"/>
    <a:srgbClr val="D65959"/>
    <a:srgbClr val="E58583"/>
    <a:srgbClr val="C00000"/>
    <a:srgbClr val="FFD2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0B8B98D-D73E-4793-8C05-377D40232342}" v="28" dt="2023-06-01T19:29:53.438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65" autoAdjust="0"/>
    <p:restoredTop sz="94660"/>
  </p:normalViewPr>
  <p:slideViewPr>
    <p:cSldViewPr snapToGrid="0">
      <p:cViewPr varScale="1">
        <p:scale>
          <a:sx n="91" d="100"/>
          <a:sy n="91" d="100"/>
        </p:scale>
        <p:origin x="53" y="67"/>
      </p:cViewPr>
      <p:guideLst>
        <p:guide orient="horz" pos="1711"/>
        <p:guide pos="1329"/>
        <p:guide orient="horz" pos="400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nson, Kevin" userId="e60c6aad-8614-4884-8dc2-e8f78e5022b5" providerId="ADAL" clId="{CE0AAE48-8C34-4A60-9062-4735A12C06A4}"/>
    <pc:docChg chg="custSel modSld">
      <pc:chgData name="Hanson, Kevin" userId="e60c6aad-8614-4884-8dc2-e8f78e5022b5" providerId="ADAL" clId="{CE0AAE48-8C34-4A60-9062-4735A12C06A4}" dt="2023-03-01T20:32:18.336" v="880" actId="20577"/>
      <pc:docMkLst>
        <pc:docMk/>
      </pc:docMkLst>
      <pc:sldChg chg="addSp modSp mod">
        <pc:chgData name="Hanson, Kevin" userId="e60c6aad-8614-4884-8dc2-e8f78e5022b5" providerId="ADAL" clId="{CE0AAE48-8C34-4A60-9062-4735A12C06A4}" dt="2023-03-01T20:32:18.336" v="880" actId="20577"/>
        <pc:sldMkLst>
          <pc:docMk/>
          <pc:sldMk cId="1687315581" sldId="257"/>
        </pc:sldMkLst>
        <pc:spChg chg="mod">
          <ac:chgData name="Hanson, Kevin" userId="e60c6aad-8614-4884-8dc2-e8f78e5022b5" providerId="ADAL" clId="{CE0AAE48-8C34-4A60-9062-4735A12C06A4}" dt="2023-03-01T20:32:18.336" v="880" actId="20577"/>
          <ac:spMkLst>
            <pc:docMk/>
            <pc:sldMk cId="1687315581" sldId="257"/>
            <ac:spMk id="3" creationId="{A4F8B35C-CF2D-43D2-A9D4-724CC15952E3}"/>
          </ac:spMkLst>
        </pc:spChg>
        <pc:spChg chg="add mod">
          <ac:chgData name="Hanson, Kevin" userId="e60c6aad-8614-4884-8dc2-e8f78e5022b5" providerId="ADAL" clId="{CE0AAE48-8C34-4A60-9062-4735A12C06A4}" dt="2023-02-26T18:13:31.506" v="488" actId="255"/>
          <ac:spMkLst>
            <pc:docMk/>
            <pc:sldMk cId="1687315581" sldId="257"/>
            <ac:spMk id="4" creationId="{7B312017-1AFD-4024-9BCA-7C3345CBD26A}"/>
          </ac:spMkLst>
        </pc:spChg>
      </pc:sldChg>
      <pc:sldChg chg="addSp delSp modSp mod">
        <pc:chgData name="Hanson, Kevin" userId="e60c6aad-8614-4884-8dc2-e8f78e5022b5" providerId="ADAL" clId="{CE0AAE48-8C34-4A60-9062-4735A12C06A4}" dt="2023-02-26T19:48:25.154" v="517" actId="14100"/>
        <pc:sldMkLst>
          <pc:docMk/>
          <pc:sldMk cId="3081388721" sldId="2141411555"/>
        </pc:sldMkLst>
        <pc:picChg chg="del">
          <ac:chgData name="Hanson, Kevin" userId="e60c6aad-8614-4884-8dc2-e8f78e5022b5" providerId="ADAL" clId="{CE0AAE48-8C34-4A60-9062-4735A12C06A4}" dt="2023-02-26T19:47:52.610" v="511" actId="478"/>
          <ac:picMkLst>
            <pc:docMk/>
            <pc:sldMk cId="3081388721" sldId="2141411555"/>
            <ac:picMk id="6" creationId="{9D7E4C45-D5FB-48EB-AEB8-84CCF69CAD2C}"/>
          </ac:picMkLst>
        </pc:picChg>
        <pc:picChg chg="add mod">
          <ac:chgData name="Hanson, Kevin" userId="e60c6aad-8614-4884-8dc2-e8f78e5022b5" providerId="ADAL" clId="{CE0AAE48-8C34-4A60-9062-4735A12C06A4}" dt="2023-02-26T19:48:25.154" v="517" actId="14100"/>
          <ac:picMkLst>
            <pc:docMk/>
            <pc:sldMk cId="3081388721" sldId="2141411555"/>
            <ac:picMk id="7" creationId="{DFA411A8-F77B-40CC-B571-8C39662A5751}"/>
          </ac:picMkLst>
        </pc:picChg>
      </pc:sldChg>
      <pc:sldChg chg="addSp modSp mod">
        <pc:chgData name="Hanson, Kevin" userId="e60c6aad-8614-4884-8dc2-e8f78e5022b5" providerId="ADAL" clId="{CE0AAE48-8C34-4A60-9062-4735A12C06A4}" dt="2023-02-26T20:04:37.642" v="851" actId="6549"/>
        <pc:sldMkLst>
          <pc:docMk/>
          <pc:sldMk cId="141715169" sldId="2141411558"/>
        </pc:sldMkLst>
        <pc:spChg chg="add mod">
          <ac:chgData name="Hanson, Kevin" userId="e60c6aad-8614-4884-8dc2-e8f78e5022b5" providerId="ADAL" clId="{CE0AAE48-8C34-4A60-9062-4735A12C06A4}" dt="2023-02-26T20:04:08.302" v="832" actId="948"/>
          <ac:spMkLst>
            <pc:docMk/>
            <pc:sldMk cId="141715169" sldId="2141411558"/>
            <ac:spMk id="7" creationId="{E6E1359C-2A96-4EB3-A29A-39674BF0B9BA}"/>
          </ac:spMkLst>
        </pc:spChg>
        <pc:spChg chg="mod">
          <ac:chgData name="Hanson, Kevin" userId="e60c6aad-8614-4884-8dc2-e8f78e5022b5" providerId="ADAL" clId="{CE0AAE48-8C34-4A60-9062-4735A12C06A4}" dt="2023-02-26T20:04:37.642" v="851" actId="6549"/>
          <ac:spMkLst>
            <pc:docMk/>
            <pc:sldMk cId="141715169" sldId="2141411558"/>
            <ac:spMk id="10" creationId="{AFEF0F8A-EFBD-462D-8B4E-F023D228F6F0}"/>
          </ac:spMkLst>
        </pc:spChg>
      </pc:sldChg>
      <pc:sldChg chg="modSp mod">
        <pc:chgData name="Hanson, Kevin" userId="e60c6aad-8614-4884-8dc2-e8f78e5022b5" providerId="ADAL" clId="{CE0AAE48-8C34-4A60-9062-4735A12C06A4}" dt="2023-02-26T20:23:00.048" v="864" actId="20577"/>
        <pc:sldMkLst>
          <pc:docMk/>
          <pc:sldMk cId="3058621513" sldId="2141411574"/>
        </pc:sldMkLst>
        <pc:spChg chg="mod">
          <ac:chgData name="Hanson, Kevin" userId="e60c6aad-8614-4884-8dc2-e8f78e5022b5" providerId="ADAL" clId="{CE0AAE48-8C34-4A60-9062-4735A12C06A4}" dt="2023-02-26T20:23:00.048" v="864" actId="20577"/>
          <ac:spMkLst>
            <pc:docMk/>
            <pc:sldMk cId="3058621513" sldId="2141411574"/>
            <ac:spMk id="2" creationId="{1F7E61D6-0DF9-41B7-B5C6-67885B8912E3}"/>
          </ac:spMkLst>
        </pc:spChg>
      </pc:sldChg>
    </pc:docChg>
  </pc:docChgLst>
  <pc:docChgLst>
    <pc:chgData name="Hanson, Kevin" userId="e60c6aad-8614-4884-8dc2-e8f78e5022b5" providerId="ADAL" clId="{903BCA11-1197-47C9-BB4C-9F4F3702DC73}"/>
    <pc:docChg chg="undo custSel addSld delSld modSld">
      <pc:chgData name="Hanson, Kevin" userId="e60c6aad-8614-4884-8dc2-e8f78e5022b5" providerId="ADAL" clId="{903BCA11-1197-47C9-BB4C-9F4F3702DC73}" dt="2023-03-29T17:22:35.166" v="1412" actId="1076"/>
      <pc:docMkLst>
        <pc:docMk/>
      </pc:docMkLst>
      <pc:sldChg chg="del">
        <pc:chgData name="Hanson, Kevin" userId="e60c6aad-8614-4884-8dc2-e8f78e5022b5" providerId="ADAL" clId="{903BCA11-1197-47C9-BB4C-9F4F3702DC73}" dt="2023-03-28T20:38:47.565" v="69" actId="47"/>
        <pc:sldMkLst>
          <pc:docMk/>
          <pc:sldMk cId="1687315581" sldId="257"/>
        </pc:sldMkLst>
      </pc:sldChg>
      <pc:sldChg chg="delSp modSp mod">
        <pc:chgData name="Hanson, Kevin" userId="e60c6aad-8614-4884-8dc2-e8f78e5022b5" providerId="ADAL" clId="{903BCA11-1197-47C9-BB4C-9F4F3702DC73}" dt="2023-03-29T17:17:54.495" v="1335" actId="1076"/>
        <pc:sldMkLst>
          <pc:docMk/>
          <pc:sldMk cId="136374311" sldId="546"/>
        </pc:sldMkLst>
        <pc:spChg chg="mod">
          <ac:chgData name="Hanson, Kevin" userId="e60c6aad-8614-4884-8dc2-e8f78e5022b5" providerId="ADAL" clId="{903BCA11-1197-47C9-BB4C-9F4F3702DC73}" dt="2023-03-29T17:17:31.242" v="1319" actId="20577"/>
          <ac:spMkLst>
            <pc:docMk/>
            <pc:sldMk cId="136374311" sldId="546"/>
            <ac:spMk id="2" creationId="{00000000-0000-0000-0000-000000000000}"/>
          </ac:spMkLst>
        </pc:spChg>
        <pc:spChg chg="mod">
          <ac:chgData name="Hanson, Kevin" userId="e60c6aad-8614-4884-8dc2-e8f78e5022b5" providerId="ADAL" clId="{903BCA11-1197-47C9-BB4C-9F4F3702DC73}" dt="2023-03-29T17:17:54.495" v="1335" actId="1076"/>
          <ac:spMkLst>
            <pc:docMk/>
            <pc:sldMk cId="136374311" sldId="546"/>
            <ac:spMk id="3" creationId="{00000000-0000-0000-0000-000000000000}"/>
          </ac:spMkLst>
        </pc:spChg>
        <pc:spChg chg="del">
          <ac:chgData name="Hanson, Kevin" userId="e60c6aad-8614-4884-8dc2-e8f78e5022b5" providerId="ADAL" clId="{903BCA11-1197-47C9-BB4C-9F4F3702DC73}" dt="2023-03-28T20:38:08.198" v="0" actId="478"/>
          <ac:spMkLst>
            <pc:docMk/>
            <pc:sldMk cId="136374311" sldId="546"/>
            <ac:spMk id="6" creationId="{2DD7D3F1-E005-410B-A0F7-9277B3C3501B}"/>
          </ac:spMkLst>
        </pc:spChg>
      </pc:sldChg>
      <pc:sldChg chg="delSp modSp mod">
        <pc:chgData name="Hanson, Kevin" userId="e60c6aad-8614-4884-8dc2-e8f78e5022b5" providerId="ADAL" clId="{903BCA11-1197-47C9-BB4C-9F4F3702DC73}" dt="2023-03-28T20:49:04.320" v="290" actId="20577"/>
        <pc:sldMkLst>
          <pc:docMk/>
          <pc:sldMk cId="3173487482" sldId="2141411554"/>
        </pc:sldMkLst>
        <pc:spChg chg="del">
          <ac:chgData name="Hanson, Kevin" userId="e60c6aad-8614-4884-8dc2-e8f78e5022b5" providerId="ADAL" clId="{903BCA11-1197-47C9-BB4C-9F4F3702DC73}" dt="2023-03-28T20:43:45.970" v="143" actId="478"/>
          <ac:spMkLst>
            <pc:docMk/>
            <pc:sldMk cId="3173487482" sldId="2141411554"/>
            <ac:spMk id="2" creationId="{E564452B-7F40-4751-8148-E435F1B1D415}"/>
          </ac:spMkLst>
        </pc:spChg>
        <pc:spChg chg="mod">
          <ac:chgData name="Hanson, Kevin" userId="e60c6aad-8614-4884-8dc2-e8f78e5022b5" providerId="ADAL" clId="{903BCA11-1197-47C9-BB4C-9F4F3702DC73}" dt="2023-03-28T20:49:04.320" v="290" actId="20577"/>
          <ac:spMkLst>
            <pc:docMk/>
            <pc:sldMk cId="3173487482" sldId="2141411554"/>
            <ac:spMk id="3" creationId="{E1F3F72A-850B-4B6D-BB79-4D65474A0470}"/>
          </ac:spMkLst>
        </pc:spChg>
      </pc:sldChg>
      <pc:sldChg chg="del">
        <pc:chgData name="Hanson, Kevin" userId="e60c6aad-8614-4884-8dc2-e8f78e5022b5" providerId="ADAL" clId="{903BCA11-1197-47C9-BB4C-9F4F3702DC73}" dt="2023-03-28T20:38:37.848" v="48" actId="47"/>
        <pc:sldMkLst>
          <pc:docMk/>
          <pc:sldMk cId="3081388721" sldId="2141411555"/>
        </pc:sldMkLst>
      </pc:sldChg>
      <pc:sldChg chg="addSp delSp modSp new mod">
        <pc:chgData name="Hanson, Kevin" userId="e60c6aad-8614-4884-8dc2-e8f78e5022b5" providerId="ADAL" clId="{903BCA11-1197-47C9-BB4C-9F4F3702DC73}" dt="2023-03-28T21:03:25.457" v="363" actId="20577"/>
        <pc:sldMkLst>
          <pc:docMk/>
          <pc:sldMk cId="3914903359" sldId="2141411555"/>
        </pc:sldMkLst>
        <pc:spChg chg="del">
          <ac:chgData name="Hanson, Kevin" userId="e60c6aad-8614-4884-8dc2-e8f78e5022b5" providerId="ADAL" clId="{903BCA11-1197-47C9-BB4C-9F4F3702DC73}" dt="2023-03-28T20:49:15.184" v="292" actId="478"/>
          <ac:spMkLst>
            <pc:docMk/>
            <pc:sldMk cId="3914903359" sldId="2141411555"/>
            <ac:spMk id="2" creationId="{240F4701-92CF-4711-AAF7-BF2205DDCB85}"/>
          </ac:spMkLst>
        </pc:spChg>
        <pc:spChg chg="mod">
          <ac:chgData name="Hanson, Kevin" userId="e60c6aad-8614-4884-8dc2-e8f78e5022b5" providerId="ADAL" clId="{903BCA11-1197-47C9-BB4C-9F4F3702DC73}" dt="2023-03-28T21:03:25.457" v="363" actId="20577"/>
          <ac:spMkLst>
            <pc:docMk/>
            <pc:sldMk cId="3914903359" sldId="2141411555"/>
            <ac:spMk id="3" creationId="{9EA6F890-192F-4495-95FE-E7EA7DADA00B}"/>
          </ac:spMkLst>
        </pc:spChg>
        <pc:spChg chg="mod">
          <ac:chgData name="Hanson, Kevin" userId="e60c6aad-8614-4884-8dc2-e8f78e5022b5" providerId="ADAL" clId="{903BCA11-1197-47C9-BB4C-9F4F3702DC73}" dt="2023-03-28T20:50:06.310" v="293"/>
          <ac:spMkLst>
            <pc:docMk/>
            <pc:sldMk cId="3914903359" sldId="2141411555"/>
            <ac:spMk id="4" creationId="{1CCD6C1B-3C18-4BBD-9056-72F40A1C644D}"/>
          </ac:spMkLst>
        </pc:spChg>
        <pc:picChg chg="add mod">
          <ac:chgData name="Hanson, Kevin" userId="e60c6aad-8614-4884-8dc2-e8f78e5022b5" providerId="ADAL" clId="{903BCA11-1197-47C9-BB4C-9F4F3702DC73}" dt="2023-03-28T21:02:37.002" v="300" actId="1076"/>
          <ac:picMkLst>
            <pc:docMk/>
            <pc:sldMk cId="3914903359" sldId="2141411555"/>
            <ac:picMk id="6" creationId="{08209DF2-4470-4DA0-B407-1729AA869CEE}"/>
          </ac:picMkLst>
        </pc:picChg>
      </pc:sldChg>
      <pc:sldChg chg="addSp delSp modSp add mod">
        <pc:chgData name="Hanson, Kevin" userId="e60c6aad-8614-4884-8dc2-e8f78e5022b5" providerId="ADAL" clId="{903BCA11-1197-47C9-BB4C-9F4F3702DC73}" dt="2023-03-28T21:16:09.716" v="816" actId="6549"/>
        <pc:sldMkLst>
          <pc:docMk/>
          <pc:sldMk cId="1086420740" sldId="2141411556"/>
        </pc:sldMkLst>
        <pc:spChg chg="mod">
          <ac:chgData name="Hanson, Kevin" userId="e60c6aad-8614-4884-8dc2-e8f78e5022b5" providerId="ADAL" clId="{903BCA11-1197-47C9-BB4C-9F4F3702DC73}" dt="2023-03-28T21:16:09.716" v="816" actId="6549"/>
          <ac:spMkLst>
            <pc:docMk/>
            <pc:sldMk cId="1086420740" sldId="2141411556"/>
            <ac:spMk id="3" creationId="{9EA6F890-192F-4495-95FE-E7EA7DADA00B}"/>
          </ac:spMkLst>
        </pc:spChg>
        <pc:spChg chg="mod">
          <ac:chgData name="Hanson, Kevin" userId="e60c6aad-8614-4884-8dc2-e8f78e5022b5" providerId="ADAL" clId="{903BCA11-1197-47C9-BB4C-9F4F3702DC73}" dt="2023-03-28T21:05:41.751" v="370"/>
          <ac:spMkLst>
            <pc:docMk/>
            <pc:sldMk cId="1086420740" sldId="2141411556"/>
            <ac:spMk id="4" creationId="{1CCD6C1B-3C18-4BBD-9056-72F40A1C644D}"/>
          </ac:spMkLst>
        </pc:spChg>
        <pc:picChg chg="add mod">
          <ac:chgData name="Hanson, Kevin" userId="e60c6aad-8614-4884-8dc2-e8f78e5022b5" providerId="ADAL" clId="{903BCA11-1197-47C9-BB4C-9F4F3702DC73}" dt="2023-03-28T21:11:45.255" v="498" actId="1076"/>
          <ac:picMkLst>
            <pc:docMk/>
            <pc:sldMk cId="1086420740" sldId="2141411556"/>
            <ac:picMk id="5" creationId="{1A6CFFC7-3C5C-451C-B7EC-54612C1FB184}"/>
          </ac:picMkLst>
        </pc:picChg>
        <pc:picChg chg="del">
          <ac:chgData name="Hanson, Kevin" userId="e60c6aad-8614-4884-8dc2-e8f78e5022b5" providerId="ADAL" clId="{903BCA11-1197-47C9-BB4C-9F4F3702DC73}" dt="2023-03-28T21:05:38.249" v="369" actId="478"/>
          <ac:picMkLst>
            <pc:docMk/>
            <pc:sldMk cId="1086420740" sldId="2141411556"/>
            <ac:picMk id="6" creationId="{08209DF2-4470-4DA0-B407-1729AA869CEE}"/>
          </ac:picMkLst>
        </pc:picChg>
      </pc:sldChg>
      <pc:sldChg chg="del">
        <pc:chgData name="Hanson, Kevin" userId="e60c6aad-8614-4884-8dc2-e8f78e5022b5" providerId="ADAL" clId="{903BCA11-1197-47C9-BB4C-9F4F3702DC73}" dt="2023-03-28T20:38:37.496" v="46" actId="47"/>
        <pc:sldMkLst>
          <pc:docMk/>
          <pc:sldMk cId="3401389234" sldId="2141411556"/>
        </pc:sldMkLst>
      </pc:sldChg>
      <pc:sldChg chg="del">
        <pc:chgData name="Hanson, Kevin" userId="e60c6aad-8614-4884-8dc2-e8f78e5022b5" providerId="ADAL" clId="{903BCA11-1197-47C9-BB4C-9F4F3702DC73}" dt="2023-03-28T20:38:37.294" v="45" actId="47"/>
        <pc:sldMkLst>
          <pc:docMk/>
          <pc:sldMk cId="22583931" sldId="2141411557"/>
        </pc:sldMkLst>
      </pc:sldChg>
      <pc:sldChg chg="delSp modSp add mod">
        <pc:chgData name="Hanson, Kevin" userId="e60c6aad-8614-4884-8dc2-e8f78e5022b5" providerId="ADAL" clId="{903BCA11-1197-47C9-BB4C-9F4F3702DC73}" dt="2023-03-29T17:18:17.721" v="1357" actId="20577"/>
        <pc:sldMkLst>
          <pc:docMk/>
          <pc:sldMk cId="1644287103" sldId="2141411557"/>
        </pc:sldMkLst>
        <pc:spChg chg="mod">
          <ac:chgData name="Hanson, Kevin" userId="e60c6aad-8614-4884-8dc2-e8f78e5022b5" providerId="ADAL" clId="{903BCA11-1197-47C9-BB4C-9F4F3702DC73}" dt="2023-03-29T17:18:17.721" v="1357" actId="20577"/>
          <ac:spMkLst>
            <pc:docMk/>
            <pc:sldMk cId="1644287103" sldId="2141411557"/>
            <ac:spMk id="3" creationId="{9EA6F890-192F-4495-95FE-E7EA7DADA00B}"/>
          </ac:spMkLst>
        </pc:spChg>
        <pc:spChg chg="mod">
          <ac:chgData name="Hanson, Kevin" userId="e60c6aad-8614-4884-8dc2-e8f78e5022b5" providerId="ADAL" clId="{903BCA11-1197-47C9-BB4C-9F4F3702DC73}" dt="2023-03-28T21:06:10.995" v="375"/>
          <ac:spMkLst>
            <pc:docMk/>
            <pc:sldMk cId="1644287103" sldId="2141411557"/>
            <ac:spMk id="4" creationId="{1CCD6C1B-3C18-4BBD-9056-72F40A1C644D}"/>
          </ac:spMkLst>
        </pc:spChg>
        <pc:picChg chg="del">
          <ac:chgData name="Hanson, Kevin" userId="e60c6aad-8614-4884-8dc2-e8f78e5022b5" providerId="ADAL" clId="{903BCA11-1197-47C9-BB4C-9F4F3702DC73}" dt="2023-03-28T21:05:49.992" v="371" actId="478"/>
          <ac:picMkLst>
            <pc:docMk/>
            <pc:sldMk cId="1644287103" sldId="2141411557"/>
            <ac:picMk id="6" creationId="{08209DF2-4470-4DA0-B407-1729AA869CEE}"/>
          </ac:picMkLst>
        </pc:picChg>
      </pc:sldChg>
      <pc:sldChg chg="del">
        <pc:chgData name="Hanson, Kevin" userId="e60c6aad-8614-4884-8dc2-e8f78e5022b5" providerId="ADAL" clId="{903BCA11-1197-47C9-BB4C-9F4F3702DC73}" dt="2023-03-28T20:38:37.652" v="47" actId="47"/>
        <pc:sldMkLst>
          <pc:docMk/>
          <pc:sldMk cId="141715169" sldId="2141411558"/>
        </pc:sldMkLst>
      </pc:sldChg>
      <pc:sldChg chg="delSp modSp add mod">
        <pc:chgData name="Hanson, Kevin" userId="e60c6aad-8614-4884-8dc2-e8f78e5022b5" providerId="ADAL" clId="{903BCA11-1197-47C9-BB4C-9F4F3702DC73}" dt="2023-03-28T21:26:26.831" v="950" actId="1076"/>
        <pc:sldMkLst>
          <pc:docMk/>
          <pc:sldMk cId="2694325457" sldId="2141411558"/>
        </pc:sldMkLst>
        <pc:spChg chg="mod">
          <ac:chgData name="Hanson, Kevin" userId="e60c6aad-8614-4884-8dc2-e8f78e5022b5" providerId="ADAL" clId="{903BCA11-1197-47C9-BB4C-9F4F3702DC73}" dt="2023-03-28T21:26:26.831" v="950" actId="1076"/>
          <ac:spMkLst>
            <pc:docMk/>
            <pc:sldMk cId="2694325457" sldId="2141411558"/>
            <ac:spMk id="3" creationId="{9EA6F890-192F-4495-95FE-E7EA7DADA00B}"/>
          </ac:spMkLst>
        </pc:spChg>
        <pc:spChg chg="mod">
          <ac:chgData name="Hanson, Kevin" userId="e60c6aad-8614-4884-8dc2-e8f78e5022b5" providerId="ADAL" clId="{903BCA11-1197-47C9-BB4C-9F4F3702DC73}" dt="2023-03-28T21:06:20.954" v="376"/>
          <ac:spMkLst>
            <pc:docMk/>
            <pc:sldMk cId="2694325457" sldId="2141411558"/>
            <ac:spMk id="4" creationId="{1CCD6C1B-3C18-4BBD-9056-72F40A1C644D}"/>
          </ac:spMkLst>
        </pc:spChg>
        <pc:picChg chg="del">
          <ac:chgData name="Hanson, Kevin" userId="e60c6aad-8614-4884-8dc2-e8f78e5022b5" providerId="ADAL" clId="{903BCA11-1197-47C9-BB4C-9F4F3702DC73}" dt="2023-03-28T21:05:51.776" v="372" actId="478"/>
          <ac:picMkLst>
            <pc:docMk/>
            <pc:sldMk cId="2694325457" sldId="2141411558"/>
            <ac:picMk id="6" creationId="{08209DF2-4470-4DA0-B407-1729AA869CEE}"/>
          </ac:picMkLst>
        </pc:picChg>
      </pc:sldChg>
      <pc:sldChg chg="del">
        <pc:chgData name="Hanson, Kevin" userId="e60c6aad-8614-4884-8dc2-e8f78e5022b5" providerId="ADAL" clId="{903BCA11-1197-47C9-BB4C-9F4F3702DC73}" dt="2023-03-28T20:38:38.427" v="50" actId="47"/>
        <pc:sldMkLst>
          <pc:docMk/>
          <pc:sldMk cId="292513581" sldId="2141411559"/>
        </pc:sldMkLst>
      </pc:sldChg>
      <pc:sldChg chg="addSp delSp modSp add mod">
        <pc:chgData name="Hanson, Kevin" userId="e60c6aad-8614-4884-8dc2-e8f78e5022b5" providerId="ADAL" clId="{903BCA11-1197-47C9-BB4C-9F4F3702DC73}" dt="2023-03-29T17:14:22.631" v="1315" actId="1076"/>
        <pc:sldMkLst>
          <pc:docMk/>
          <pc:sldMk cId="3444958256" sldId="2141411559"/>
        </pc:sldMkLst>
        <pc:spChg chg="add mod">
          <ac:chgData name="Hanson, Kevin" userId="e60c6aad-8614-4884-8dc2-e8f78e5022b5" providerId="ADAL" clId="{903BCA11-1197-47C9-BB4C-9F4F3702DC73}" dt="2023-03-29T17:14:22.631" v="1315" actId="1076"/>
          <ac:spMkLst>
            <pc:docMk/>
            <pc:sldMk cId="3444958256" sldId="2141411559"/>
            <ac:spMk id="2" creationId="{8946E13C-407F-424C-8817-905ED3AF0D6E}"/>
          </ac:spMkLst>
        </pc:spChg>
        <pc:spChg chg="del">
          <ac:chgData name="Hanson, Kevin" userId="e60c6aad-8614-4884-8dc2-e8f78e5022b5" providerId="ADAL" clId="{903BCA11-1197-47C9-BB4C-9F4F3702DC73}" dt="2023-03-29T17:11:50.708" v="1084" actId="478"/>
          <ac:spMkLst>
            <pc:docMk/>
            <pc:sldMk cId="3444958256" sldId="2141411559"/>
            <ac:spMk id="3" creationId="{9EA6F890-192F-4495-95FE-E7EA7DADA00B}"/>
          </ac:spMkLst>
        </pc:spChg>
        <pc:spChg chg="mod">
          <ac:chgData name="Hanson, Kevin" userId="e60c6aad-8614-4884-8dc2-e8f78e5022b5" providerId="ADAL" clId="{903BCA11-1197-47C9-BB4C-9F4F3702DC73}" dt="2023-03-28T21:06:39.819" v="377"/>
          <ac:spMkLst>
            <pc:docMk/>
            <pc:sldMk cId="3444958256" sldId="2141411559"/>
            <ac:spMk id="4" creationId="{1CCD6C1B-3C18-4BBD-9056-72F40A1C644D}"/>
          </ac:spMkLst>
        </pc:spChg>
        <pc:picChg chg="del">
          <ac:chgData name="Hanson, Kevin" userId="e60c6aad-8614-4884-8dc2-e8f78e5022b5" providerId="ADAL" clId="{903BCA11-1197-47C9-BB4C-9F4F3702DC73}" dt="2023-03-28T21:05:53.415" v="373" actId="478"/>
          <ac:picMkLst>
            <pc:docMk/>
            <pc:sldMk cId="3444958256" sldId="2141411559"/>
            <ac:picMk id="6" creationId="{08209DF2-4470-4DA0-B407-1729AA869CEE}"/>
          </ac:picMkLst>
        </pc:picChg>
        <pc:picChg chg="add mod">
          <ac:chgData name="Hanson, Kevin" userId="e60c6aad-8614-4884-8dc2-e8f78e5022b5" providerId="ADAL" clId="{903BCA11-1197-47C9-BB4C-9F4F3702DC73}" dt="2023-03-29T17:13:47.663" v="1266" actId="1076"/>
          <ac:picMkLst>
            <pc:docMk/>
            <pc:sldMk cId="3444958256" sldId="2141411559"/>
            <ac:picMk id="6" creationId="{CD1FD258-6D56-449D-ACAA-85009017CB23}"/>
          </ac:picMkLst>
        </pc:picChg>
      </pc:sldChg>
      <pc:sldChg chg="addSp delSp modSp add mod">
        <pc:chgData name="Hanson, Kevin" userId="e60c6aad-8614-4884-8dc2-e8f78e5022b5" providerId="ADAL" clId="{903BCA11-1197-47C9-BB4C-9F4F3702DC73}" dt="2023-03-29T17:22:35.166" v="1412" actId="1076"/>
        <pc:sldMkLst>
          <pc:docMk/>
          <pc:sldMk cId="1351952326" sldId="2141411560"/>
        </pc:sldMkLst>
        <pc:spChg chg="mod">
          <ac:chgData name="Hanson, Kevin" userId="e60c6aad-8614-4884-8dc2-e8f78e5022b5" providerId="ADAL" clId="{903BCA11-1197-47C9-BB4C-9F4F3702DC73}" dt="2023-03-29T17:22:35.166" v="1412" actId="1076"/>
          <ac:spMkLst>
            <pc:docMk/>
            <pc:sldMk cId="1351952326" sldId="2141411560"/>
            <ac:spMk id="3" creationId="{9EA6F890-192F-4495-95FE-E7EA7DADA00B}"/>
          </ac:spMkLst>
        </pc:spChg>
        <pc:spChg chg="mod">
          <ac:chgData name="Hanson, Kevin" userId="e60c6aad-8614-4884-8dc2-e8f78e5022b5" providerId="ADAL" clId="{903BCA11-1197-47C9-BB4C-9F4F3702DC73}" dt="2023-03-28T21:06:55.474" v="378"/>
          <ac:spMkLst>
            <pc:docMk/>
            <pc:sldMk cId="1351952326" sldId="2141411560"/>
            <ac:spMk id="4" creationId="{1CCD6C1B-3C18-4BBD-9056-72F40A1C644D}"/>
          </ac:spMkLst>
        </pc:spChg>
        <pc:picChg chg="add mod">
          <ac:chgData name="Hanson, Kevin" userId="e60c6aad-8614-4884-8dc2-e8f78e5022b5" providerId="ADAL" clId="{903BCA11-1197-47C9-BB4C-9F4F3702DC73}" dt="2023-03-29T17:22:31.556" v="1411" actId="1076"/>
          <ac:picMkLst>
            <pc:docMk/>
            <pc:sldMk cId="1351952326" sldId="2141411560"/>
            <ac:picMk id="5" creationId="{122E5052-E349-4F97-8BB6-12483247F989}"/>
          </ac:picMkLst>
        </pc:picChg>
        <pc:picChg chg="del">
          <ac:chgData name="Hanson, Kevin" userId="e60c6aad-8614-4884-8dc2-e8f78e5022b5" providerId="ADAL" clId="{903BCA11-1197-47C9-BB4C-9F4F3702DC73}" dt="2023-03-28T21:05:55.833" v="374" actId="478"/>
          <ac:picMkLst>
            <pc:docMk/>
            <pc:sldMk cId="1351952326" sldId="2141411560"/>
            <ac:picMk id="6" creationId="{08209DF2-4470-4DA0-B407-1729AA869CEE}"/>
          </ac:picMkLst>
        </pc:picChg>
      </pc:sldChg>
      <pc:sldChg chg="del">
        <pc:chgData name="Hanson, Kevin" userId="e60c6aad-8614-4884-8dc2-e8f78e5022b5" providerId="ADAL" clId="{903BCA11-1197-47C9-BB4C-9F4F3702DC73}" dt="2023-03-28T20:38:38.794" v="51" actId="47"/>
        <pc:sldMkLst>
          <pc:docMk/>
          <pc:sldMk cId="3180769904" sldId="2141411560"/>
        </pc:sldMkLst>
      </pc:sldChg>
      <pc:sldChg chg="del">
        <pc:chgData name="Hanson, Kevin" userId="e60c6aad-8614-4884-8dc2-e8f78e5022b5" providerId="ADAL" clId="{903BCA11-1197-47C9-BB4C-9F4F3702DC73}" dt="2023-03-28T20:38:39.116" v="52" actId="47"/>
        <pc:sldMkLst>
          <pc:docMk/>
          <pc:sldMk cId="385855627" sldId="2141411561"/>
        </pc:sldMkLst>
      </pc:sldChg>
      <pc:sldChg chg="addSp modSp add mod">
        <pc:chgData name="Hanson, Kevin" userId="e60c6aad-8614-4884-8dc2-e8f78e5022b5" providerId="ADAL" clId="{903BCA11-1197-47C9-BB4C-9F4F3702DC73}" dt="2023-03-28T21:22:56.936" v="945" actId="1076"/>
        <pc:sldMkLst>
          <pc:docMk/>
          <pc:sldMk cId="678589554" sldId="2141411561"/>
        </pc:sldMkLst>
        <pc:spChg chg="mod">
          <ac:chgData name="Hanson, Kevin" userId="e60c6aad-8614-4884-8dc2-e8f78e5022b5" providerId="ADAL" clId="{903BCA11-1197-47C9-BB4C-9F4F3702DC73}" dt="2023-03-28T21:22:56.936" v="945" actId="1076"/>
          <ac:spMkLst>
            <pc:docMk/>
            <pc:sldMk cId="678589554" sldId="2141411561"/>
            <ac:spMk id="3" creationId="{9EA6F890-192F-4495-95FE-E7EA7DADA00B}"/>
          </ac:spMkLst>
        </pc:spChg>
        <pc:picChg chg="add mod">
          <ac:chgData name="Hanson, Kevin" userId="e60c6aad-8614-4884-8dc2-e8f78e5022b5" providerId="ADAL" clId="{903BCA11-1197-47C9-BB4C-9F4F3702DC73}" dt="2023-03-28T21:22:56.111" v="944" actId="1076"/>
          <ac:picMkLst>
            <pc:docMk/>
            <pc:sldMk cId="678589554" sldId="2141411561"/>
            <ac:picMk id="5" creationId="{3AA75F22-C87A-444D-ACD4-FC0854FB466B}"/>
          </ac:picMkLst>
        </pc:picChg>
      </pc:sldChg>
      <pc:sldChg chg="del">
        <pc:chgData name="Hanson, Kevin" userId="e60c6aad-8614-4884-8dc2-e8f78e5022b5" providerId="ADAL" clId="{903BCA11-1197-47C9-BB4C-9F4F3702DC73}" dt="2023-03-28T20:38:39.781" v="54" actId="47"/>
        <pc:sldMkLst>
          <pc:docMk/>
          <pc:sldMk cId="2530082049" sldId="2141411562"/>
        </pc:sldMkLst>
      </pc:sldChg>
      <pc:sldChg chg="addSp modSp add mod">
        <pc:chgData name="Hanson, Kevin" userId="e60c6aad-8614-4884-8dc2-e8f78e5022b5" providerId="ADAL" clId="{903BCA11-1197-47C9-BB4C-9F4F3702DC73}" dt="2023-03-28T21:29:23.366" v="1083" actId="14100"/>
        <pc:sldMkLst>
          <pc:docMk/>
          <pc:sldMk cId="2751850254" sldId="2141411562"/>
        </pc:sldMkLst>
        <pc:spChg chg="mod">
          <ac:chgData name="Hanson, Kevin" userId="e60c6aad-8614-4884-8dc2-e8f78e5022b5" providerId="ADAL" clId="{903BCA11-1197-47C9-BB4C-9F4F3702DC73}" dt="2023-03-28T21:29:23.366" v="1083" actId="14100"/>
          <ac:spMkLst>
            <pc:docMk/>
            <pc:sldMk cId="2751850254" sldId="2141411562"/>
            <ac:spMk id="3" creationId="{9EA6F890-192F-4495-95FE-E7EA7DADA00B}"/>
          </ac:spMkLst>
        </pc:spChg>
        <pc:picChg chg="add mod">
          <ac:chgData name="Hanson, Kevin" userId="e60c6aad-8614-4884-8dc2-e8f78e5022b5" providerId="ADAL" clId="{903BCA11-1197-47C9-BB4C-9F4F3702DC73}" dt="2023-03-28T21:29:00.802" v="1063" actId="14100"/>
          <ac:picMkLst>
            <pc:docMk/>
            <pc:sldMk cId="2751850254" sldId="2141411562"/>
            <ac:picMk id="5" creationId="{697DD181-19BF-4072-B7A6-D70BD468216E}"/>
          </ac:picMkLst>
        </pc:picChg>
      </pc:sldChg>
      <pc:sldChg chg="del">
        <pc:chgData name="Hanson, Kevin" userId="e60c6aad-8614-4884-8dc2-e8f78e5022b5" providerId="ADAL" clId="{903BCA11-1197-47C9-BB4C-9F4F3702DC73}" dt="2023-03-28T20:38:39.965" v="55" actId="47"/>
        <pc:sldMkLst>
          <pc:docMk/>
          <pc:sldMk cId="3940105943" sldId="2141411566"/>
        </pc:sldMkLst>
      </pc:sldChg>
      <pc:sldChg chg="del">
        <pc:chgData name="Hanson, Kevin" userId="e60c6aad-8614-4884-8dc2-e8f78e5022b5" providerId="ADAL" clId="{903BCA11-1197-47C9-BB4C-9F4F3702DC73}" dt="2023-03-28T20:38:43.164" v="66" actId="47"/>
        <pc:sldMkLst>
          <pc:docMk/>
          <pc:sldMk cId="1954725469" sldId="2141411567"/>
        </pc:sldMkLst>
      </pc:sldChg>
      <pc:sldChg chg="del">
        <pc:chgData name="Hanson, Kevin" userId="e60c6aad-8614-4884-8dc2-e8f78e5022b5" providerId="ADAL" clId="{903BCA11-1197-47C9-BB4C-9F4F3702DC73}" dt="2023-03-28T20:38:40.896" v="58" actId="47"/>
        <pc:sldMkLst>
          <pc:docMk/>
          <pc:sldMk cId="1297516391" sldId="2141411568"/>
        </pc:sldMkLst>
      </pc:sldChg>
      <pc:sldChg chg="del">
        <pc:chgData name="Hanson, Kevin" userId="e60c6aad-8614-4884-8dc2-e8f78e5022b5" providerId="ADAL" clId="{903BCA11-1197-47C9-BB4C-9F4F3702DC73}" dt="2023-03-28T20:38:40.704" v="57" actId="47"/>
        <pc:sldMkLst>
          <pc:docMk/>
          <pc:sldMk cId="3314498188" sldId="2141411570"/>
        </pc:sldMkLst>
      </pc:sldChg>
      <pc:sldChg chg="del">
        <pc:chgData name="Hanson, Kevin" userId="e60c6aad-8614-4884-8dc2-e8f78e5022b5" providerId="ADAL" clId="{903BCA11-1197-47C9-BB4C-9F4F3702DC73}" dt="2023-03-28T20:38:41.682" v="60" actId="47"/>
        <pc:sldMkLst>
          <pc:docMk/>
          <pc:sldMk cId="4060944285" sldId="2141411571"/>
        </pc:sldMkLst>
      </pc:sldChg>
      <pc:sldChg chg="del">
        <pc:chgData name="Hanson, Kevin" userId="e60c6aad-8614-4884-8dc2-e8f78e5022b5" providerId="ADAL" clId="{903BCA11-1197-47C9-BB4C-9F4F3702DC73}" dt="2023-03-28T20:38:41.351" v="59" actId="47"/>
        <pc:sldMkLst>
          <pc:docMk/>
          <pc:sldMk cId="2760677837" sldId="2141411572"/>
        </pc:sldMkLst>
      </pc:sldChg>
      <pc:sldChg chg="del">
        <pc:chgData name="Hanson, Kevin" userId="e60c6aad-8614-4884-8dc2-e8f78e5022b5" providerId="ADAL" clId="{903BCA11-1197-47C9-BB4C-9F4F3702DC73}" dt="2023-03-28T20:38:46.783" v="68" actId="47"/>
        <pc:sldMkLst>
          <pc:docMk/>
          <pc:sldMk cId="3058621513" sldId="2141411574"/>
        </pc:sldMkLst>
      </pc:sldChg>
      <pc:sldChg chg="del">
        <pc:chgData name="Hanson, Kevin" userId="e60c6aad-8614-4884-8dc2-e8f78e5022b5" providerId="ADAL" clId="{903BCA11-1197-47C9-BB4C-9F4F3702DC73}" dt="2023-03-28T20:38:42.197" v="62" actId="47"/>
        <pc:sldMkLst>
          <pc:docMk/>
          <pc:sldMk cId="3072003594" sldId="2141411575"/>
        </pc:sldMkLst>
      </pc:sldChg>
      <pc:sldChg chg="del">
        <pc:chgData name="Hanson, Kevin" userId="e60c6aad-8614-4884-8dc2-e8f78e5022b5" providerId="ADAL" clId="{903BCA11-1197-47C9-BB4C-9F4F3702DC73}" dt="2023-03-28T20:38:45.581" v="67" actId="47"/>
        <pc:sldMkLst>
          <pc:docMk/>
          <pc:sldMk cId="3674008762" sldId="2141411576"/>
        </pc:sldMkLst>
      </pc:sldChg>
      <pc:sldChg chg="del">
        <pc:chgData name="Hanson, Kevin" userId="e60c6aad-8614-4884-8dc2-e8f78e5022b5" providerId="ADAL" clId="{903BCA11-1197-47C9-BB4C-9F4F3702DC73}" dt="2023-03-28T20:38:41.841" v="61" actId="47"/>
        <pc:sldMkLst>
          <pc:docMk/>
          <pc:sldMk cId="1145348421" sldId="2141411577"/>
        </pc:sldMkLst>
      </pc:sldChg>
      <pc:sldChg chg="del">
        <pc:chgData name="Hanson, Kevin" userId="e60c6aad-8614-4884-8dc2-e8f78e5022b5" providerId="ADAL" clId="{903BCA11-1197-47C9-BB4C-9F4F3702DC73}" dt="2023-03-28T20:38:40.404" v="56" actId="47"/>
        <pc:sldMkLst>
          <pc:docMk/>
          <pc:sldMk cId="1922580198" sldId="2141411579"/>
        </pc:sldMkLst>
      </pc:sldChg>
      <pc:sldChg chg="del">
        <pc:chgData name="Hanson, Kevin" userId="e60c6aad-8614-4884-8dc2-e8f78e5022b5" providerId="ADAL" clId="{903BCA11-1197-47C9-BB4C-9F4F3702DC73}" dt="2023-03-28T20:38:39.446" v="53" actId="47"/>
        <pc:sldMkLst>
          <pc:docMk/>
          <pc:sldMk cId="69982838" sldId="2141411580"/>
        </pc:sldMkLst>
      </pc:sldChg>
      <pc:sldChg chg="del">
        <pc:chgData name="Hanson, Kevin" userId="e60c6aad-8614-4884-8dc2-e8f78e5022b5" providerId="ADAL" clId="{903BCA11-1197-47C9-BB4C-9F4F3702DC73}" dt="2023-03-28T20:38:38.015" v="49" actId="47"/>
        <pc:sldMkLst>
          <pc:docMk/>
          <pc:sldMk cId="2821583136" sldId="2141411581"/>
        </pc:sldMkLst>
      </pc:sldChg>
      <pc:sldChg chg="del">
        <pc:chgData name="Hanson, Kevin" userId="e60c6aad-8614-4884-8dc2-e8f78e5022b5" providerId="ADAL" clId="{903BCA11-1197-47C9-BB4C-9F4F3702DC73}" dt="2023-03-28T20:38:42.581" v="63" actId="47"/>
        <pc:sldMkLst>
          <pc:docMk/>
          <pc:sldMk cId="2067499809" sldId="2141411583"/>
        </pc:sldMkLst>
      </pc:sldChg>
      <pc:sldChg chg="del">
        <pc:chgData name="Hanson, Kevin" userId="e60c6aad-8614-4884-8dc2-e8f78e5022b5" providerId="ADAL" clId="{903BCA11-1197-47C9-BB4C-9F4F3702DC73}" dt="2023-03-28T20:38:42.769" v="64" actId="47"/>
        <pc:sldMkLst>
          <pc:docMk/>
          <pc:sldMk cId="2154686554" sldId="2141411584"/>
        </pc:sldMkLst>
      </pc:sldChg>
      <pc:sldChg chg="del">
        <pc:chgData name="Hanson, Kevin" userId="e60c6aad-8614-4884-8dc2-e8f78e5022b5" providerId="ADAL" clId="{903BCA11-1197-47C9-BB4C-9F4F3702DC73}" dt="2023-03-28T20:38:42.970" v="65" actId="47"/>
        <pc:sldMkLst>
          <pc:docMk/>
          <pc:sldMk cId="2878579579" sldId="2141411585"/>
        </pc:sldMkLst>
      </pc:sldChg>
      <pc:sldMasterChg chg="delSldLayout">
        <pc:chgData name="Hanson, Kevin" userId="e60c6aad-8614-4884-8dc2-e8f78e5022b5" providerId="ADAL" clId="{903BCA11-1197-47C9-BB4C-9F4F3702DC73}" dt="2023-03-28T20:38:47.565" v="69" actId="47"/>
        <pc:sldMasterMkLst>
          <pc:docMk/>
          <pc:sldMasterMk cId="0" sldId="2147483651"/>
        </pc:sldMasterMkLst>
        <pc:sldLayoutChg chg="del">
          <pc:chgData name="Hanson, Kevin" userId="e60c6aad-8614-4884-8dc2-e8f78e5022b5" providerId="ADAL" clId="{903BCA11-1197-47C9-BB4C-9F4F3702DC73}" dt="2023-03-28T20:38:47.565" v="69" actId="47"/>
          <pc:sldLayoutMkLst>
            <pc:docMk/>
            <pc:sldMasterMk cId="0" sldId="2147483651"/>
            <pc:sldLayoutMk cId="1271749244" sldId="2147483830"/>
          </pc:sldLayoutMkLst>
        </pc:sldLayoutChg>
      </pc:sldMasterChg>
    </pc:docChg>
  </pc:docChgLst>
  <pc:docChgLst>
    <pc:chgData name="Hanson, Kevin" userId="e60c6aad-8614-4884-8dc2-e8f78e5022b5" providerId="ADAL" clId="{0D7E55F9-97E2-4E41-B7AC-C038EF874D60}"/>
    <pc:docChg chg="custSel modSld sldOrd">
      <pc:chgData name="Hanson, Kevin" userId="e60c6aad-8614-4884-8dc2-e8f78e5022b5" providerId="ADAL" clId="{0D7E55F9-97E2-4E41-B7AC-C038EF874D60}" dt="2023-03-02T18:27:11.776" v="5" actId="478"/>
      <pc:docMkLst>
        <pc:docMk/>
      </pc:docMkLst>
      <pc:sldChg chg="ord">
        <pc:chgData name="Hanson, Kevin" userId="e60c6aad-8614-4884-8dc2-e8f78e5022b5" providerId="ADAL" clId="{0D7E55F9-97E2-4E41-B7AC-C038EF874D60}" dt="2023-03-02T18:27:00.557" v="1"/>
        <pc:sldMkLst>
          <pc:docMk/>
          <pc:sldMk cId="3674008762" sldId="2141411576"/>
        </pc:sldMkLst>
      </pc:sldChg>
      <pc:sldChg chg="delSp mod">
        <pc:chgData name="Hanson, Kevin" userId="e60c6aad-8614-4884-8dc2-e8f78e5022b5" providerId="ADAL" clId="{0D7E55F9-97E2-4E41-B7AC-C038EF874D60}" dt="2023-03-02T18:27:09.728" v="4" actId="478"/>
        <pc:sldMkLst>
          <pc:docMk/>
          <pc:sldMk cId="2067499809" sldId="2141411583"/>
        </pc:sldMkLst>
        <pc:picChg chg="del">
          <ac:chgData name="Hanson, Kevin" userId="e60c6aad-8614-4884-8dc2-e8f78e5022b5" providerId="ADAL" clId="{0D7E55F9-97E2-4E41-B7AC-C038EF874D60}" dt="2023-03-02T18:27:09.728" v="4" actId="478"/>
          <ac:picMkLst>
            <pc:docMk/>
            <pc:sldMk cId="2067499809" sldId="2141411583"/>
            <ac:picMk id="27" creationId="{230234FC-498A-40FB-BBCF-B2C8683E6A0C}"/>
          </ac:picMkLst>
        </pc:picChg>
      </pc:sldChg>
      <pc:sldChg chg="delSp mod">
        <pc:chgData name="Hanson, Kevin" userId="e60c6aad-8614-4884-8dc2-e8f78e5022b5" providerId="ADAL" clId="{0D7E55F9-97E2-4E41-B7AC-C038EF874D60}" dt="2023-03-02T18:27:11.776" v="5" actId="478"/>
        <pc:sldMkLst>
          <pc:docMk/>
          <pc:sldMk cId="2154686554" sldId="2141411584"/>
        </pc:sldMkLst>
        <pc:picChg chg="del">
          <ac:chgData name="Hanson, Kevin" userId="e60c6aad-8614-4884-8dc2-e8f78e5022b5" providerId="ADAL" clId="{0D7E55F9-97E2-4E41-B7AC-C038EF874D60}" dt="2023-03-02T18:27:11.776" v="5" actId="478"/>
          <ac:picMkLst>
            <pc:docMk/>
            <pc:sldMk cId="2154686554" sldId="2141411584"/>
            <ac:picMk id="24" creationId="{FF88DDD0-4D0A-4285-8D01-395416147904}"/>
          </ac:picMkLst>
        </pc:picChg>
      </pc:sldChg>
      <pc:sldChg chg="ord">
        <pc:chgData name="Hanson, Kevin" userId="e60c6aad-8614-4884-8dc2-e8f78e5022b5" providerId="ADAL" clId="{0D7E55F9-97E2-4E41-B7AC-C038EF874D60}" dt="2023-03-02T18:27:02.177" v="3"/>
        <pc:sldMkLst>
          <pc:docMk/>
          <pc:sldMk cId="2878579579" sldId="2141411585"/>
        </pc:sldMkLst>
      </pc:sldChg>
    </pc:docChg>
  </pc:docChgLst>
  <pc:docChgLst>
    <pc:chgData name="Kevin" userId="e60c6aad-8614-4884-8dc2-e8f78e5022b5" providerId="ADAL" clId="{C0B8B98D-D73E-4793-8C05-377D40232342}"/>
    <pc:docChg chg="undo custSel addSld delSld modSld">
      <pc:chgData name="Kevin" userId="e60c6aad-8614-4884-8dc2-e8f78e5022b5" providerId="ADAL" clId="{C0B8B98D-D73E-4793-8C05-377D40232342}" dt="2023-06-01T19:35:47.709" v="2540" actId="47"/>
      <pc:docMkLst>
        <pc:docMk/>
      </pc:docMkLst>
      <pc:sldChg chg="modSp mod">
        <pc:chgData name="Kevin" userId="e60c6aad-8614-4884-8dc2-e8f78e5022b5" providerId="ADAL" clId="{C0B8B98D-D73E-4793-8C05-377D40232342}" dt="2023-06-01T18:08:24.318" v="16" actId="20577"/>
        <pc:sldMkLst>
          <pc:docMk/>
          <pc:sldMk cId="136374311" sldId="546"/>
        </pc:sldMkLst>
        <pc:spChg chg="mod">
          <ac:chgData name="Kevin" userId="e60c6aad-8614-4884-8dc2-e8f78e5022b5" providerId="ADAL" clId="{C0B8B98D-D73E-4793-8C05-377D40232342}" dt="2023-06-01T18:08:17.044" v="11" actId="20577"/>
          <ac:spMkLst>
            <pc:docMk/>
            <pc:sldMk cId="136374311" sldId="546"/>
            <ac:spMk id="2" creationId="{00000000-0000-0000-0000-000000000000}"/>
          </ac:spMkLst>
        </pc:spChg>
        <pc:spChg chg="mod">
          <ac:chgData name="Kevin" userId="e60c6aad-8614-4884-8dc2-e8f78e5022b5" providerId="ADAL" clId="{C0B8B98D-D73E-4793-8C05-377D40232342}" dt="2023-06-01T18:08:24.318" v="16" actId="20577"/>
          <ac:spMkLst>
            <pc:docMk/>
            <pc:sldMk cId="136374311" sldId="546"/>
            <ac:spMk id="3" creationId="{00000000-0000-0000-0000-000000000000}"/>
          </ac:spMkLst>
        </pc:spChg>
      </pc:sldChg>
      <pc:sldChg chg="modSp mod">
        <pc:chgData name="Kevin" userId="e60c6aad-8614-4884-8dc2-e8f78e5022b5" providerId="ADAL" clId="{C0B8B98D-D73E-4793-8C05-377D40232342}" dt="2023-06-01T19:35:25.642" v="2539" actId="20577"/>
        <pc:sldMkLst>
          <pc:docMk/>
          <pc:sldMk cId="3173487482" sldId="2141411554"/>
        </pc:sldMkLst>
        <pc:spChg chg="mod">
          <ac:chgData name="Kevin" userId="e60c6aad-8614-4884-8dc2-e8f78e5022b5" providerId="ADAL" clId="{C0B8B98D-D73E-4793-8C05-377D40232342}" dt="2023-06-01T19:35:25.642" v="2539" actId="20577"/>
          <ac:spMkLst>
            <pc:docMk/>
            <pc:sldMk cId="3173487482" sldId="2141411554"/>
            <ac:spMk id="3" creationId="{E1F3F72A-850B-4B6D-BB79-4D65474A0470}"/>
          </ac:spMkLst>
        </pc:spChg>
      </pc:sldChg>
      <pc:sldChg chg="addSp delSp modSp mod">
        <pc:chgData name="Kevin" userId="e60c6aad-8614-4884-8dc2-e8f78e5022b5" providerId="ADAL" clId="{C0B8B98D-D73E-4793-8C05-377D40232342}" dt="2023-06-01T18:32:03.816" v="1214" actId="20577"/>
        <pc:sldMkLst>
          <pc:docMk/>
          <pc:sldMk cId="3914903359" sldId="2141411555"/>
        </pc:sldMkLst>
        <pc:spChg chg="mod">
          <ac:chgData name="Kevin" userId="e60c6aad-8614-4884-8dc2-e8f78e5022b5" providerId="ADAL" clId="{C0B8B98D-D73E-4793-8C05-377D40232342}" dt="2023-06-01T18:32:03.816" v="1214" actId="20577"/>
          <ac:spMkLst>
            <pc:docMk/>
            <pc:sldMk cId="3914903359" sldId="2141411555"/>
            <ac:spMk id="3" creationId="{9EA6F890-192F-4495-95FE-E7EA7DADA00B}"/>
          </ac:spMkLst>
        </pc:spChg>
        <pc:spChg chg="mod">
          <ac:chgData name="Kevin" userId="e60c6aad-8614-4884-8dc2-e8f78e5022b5" providerId="ADAL" clId="{C0B8B98D-D73E-4793-8C05-377D40232342}" dt="2023-06-01T18:27:25.218" v="1086"/>
          <ac:spMkLst>
            <pc:docMk/>
            <pc:sldMk cId="3914903359" sldId="2141411555"/>
            <ac:spMk id="4" creationId="{1CCD6C1B-3C18-4BBD-9056-72F40A1C644D}"/>
          </ac:spMkLst>
        </pc:spChg>
        <pc:picChg chg="add mod ord">
          <ac:chgData name="Kevin" userId="e60c6aad-8614-4884-8dc2-e8f78e5022b5" providerId="ADAL" clId="{C0B8B98D-D73E-4793-8C05-377D40232342}" dt="2023-06-01T18:30:33.886" v="1097" actId="167"/>
          <ac:picMkLst>
            <pc:docMk/>
            <pc:sldMk cId="3914903359" sldId="2141411555"/>
            <ac:picMk id="5" creationId="{22D70CA5-772D-4F08-81B5-2244F95B7409}"/>
          </ac:picMkLst>
        </pc:picChg>
        <pc:picChg chg="del">
          <ac:chgData name="Kevin" userId="e60c6aad-8614-4884-8dc2-e8f78e5022b5" providerId="ADAL" clId="{C0B8B98D-D73E-4793-8C05-377D40232342}" dt="2023-06-01T18:27:31.939" v="1088" actId="478"/>
          <ac:picMkLst>
            <pc:docMk/>
            <pc:sldMk cId="3914903359" sldId="2141411555"/>
            <ac:picMk id="6" creationId="{08209DF2-4470-4DA0-B407-1729AA869CEE}"/>
          </ac:picMkLst>
        </pc:picChg>
        <pc:picChg chg="add mod ord">
          <ac:chgData name="Kevin" userId="e60c6aad-8614-4884-8dc2-e8f78e5022b5" providerId="ADAL" clId="{C0B8B98D-D73E-4793-8C05-377D40232342}" dt="2023-06-01T18:30:40.431" v="1098" actId="167"/>
          <ac:picMkLst>
            <pc:docMk/>
            <pc:sldMk cId="3914903359" sldId="2141411555"/>
            <ac:picMk id="8" creationId="{6BD25587-CB81-4123-89CF-427C643C3D8E}"/>
          </ac:picMkLst>
        </pc:picChg>
      </pc:sldChg>
      <pc:sldChg chg="delSp del mod">
        <pc:chgData name="Kevin" userId="e60c6aad-8614-4884-8dc2-e8f78e5022b5" providerId="ADAL" clId="{C0B8B98D-D73E-4793-8C05-377D40232342}" dt="2023-06-01T19:35:47.709" v="2540" actId="47"/>
        <pc:sldMkLst>
          <pc:docMk/>
          <pc:sldMk cId="1086420740" sldId="2141411556"/>
        </pc:sldMkLst>
        <pc:picChg chg="del">
          <ac:chgData name="Kevin" userId="e60c6aad-8614-4884-8dc2-e8f78e5022b5" providerId="ADAL" clId="{C0B8B98D-D73E-4793-8C05-377D40232342}" dt="2023-06-01T18:40:08.784" v="1486" actId="478"/>
          <ac:picMkLst>
            <pc:docMk/>
            <pc:sldMk cId="1086420740" sldId="2141411556"/>
            <ac:picMk id="5" creationId="{1A6CFFC7-3C5C-451C-B7EC-54612C1FB184}"/>
          </ac:picMkLst>
        </pc:picChg>
      </pc:sldChg>
      <pc:sldChg chg="del">
        <pc:chgData name="Kevin" userId="e60c6aad-8614-4884-8dc2-e8f78e5022b5" providerId="ADAL" clId="{C0B8B98D-D73E-4793-8C05-377D40232342}" dt="2023-06-01T19:00:09.786" v="2068" actId="47"/>
        <pc:sldMkLst>
          <pc:docMk/>
          <pc:sldMk cId="1644287103" sldId="2141411557"/>
        </pc:sldMkLst>
      </pc:sldChg>
      <pc:sldChg chg="del">
        <pc:chgData name="Kevin" userId="e60c6aad-8614-4884-8dc2-e8f78e5022b5" providerId="ADAL" clId="{C0B8B98D-D73E-4793-8C05-377D40232342}" dt="2023-06-01T19:00:21.450" v="2072" actId="47"/>
        <pc:sldMkLst>
          <pc:docMk/>
          <pc:sldMk cId="2694325457" sldId="2141411558"/>
        </pc:sldMkLst>
      </pc:sldChg>
      <pc:sldChg chg="del">
        <pc:chgData name="Kevin" userId="e60c6aad-8614-4884-8dc2-e8f78e5022b5" providerId="ADAL" clId="{C0B8B98D-D73E-4793-8C05-377D40232342}" dt="2023-06-01T19:00:16.684" v="2071" actId="47"/>
        <pc:sldMkLst>
          <pc:docMk/>
          <pc:sldMk cId="3444958256" sldId="2141411559"/>
        </pc:sldMkLst>
      </pc:sldChg>
      <pc:sldChg chg="del">
        <pc:chgData name="Kevin" userId="e60c6aad-8614-4884-8dc2-e8f78e5022b5" providerId="ADAL" clId="{C0B8B98D-D73E-4793-8C05-377D40232342}" dt="2023-06-01T19:00:15.441" v="2070" actId="47"/>
        <pc:sldMkLst>
          <pc:docMk/>
          <pc:sldMk cId="1351952326" sldId="2141411560"/>
        </pc:sldMkLst>
      </pc:sldChg>
      <pc:sldChg chg="del">
        <pc:chgData name="Kevin" userId="e60c6aad-8614-4884-8dc2-e8f78e5022b5" providerId="ADAL" clId="{C0B8B98D-D73E-4793-8C05-377D40232342}" dt="2023-06-01T19:00:11.578" v="2069" actId="47"/>
        <pc:sldMkLst>
          <pc:docMk/>
          <pc:sldMk cId="678589554" sldId="2141411561"/>
        </pc:sldMkLst>
      </pc:sldChg>
      <pc:sldChg chg="del">
        <pc:chgData name="Kevin" userId="e60c6aad-8614-4884-8dc2-e8f78e5022b5" providerId="ADAL" clId="{C0B8B98D-D73E-4793-8C05-377D40232342}" dt="2023-06-01T19:00:22.615" v="2073" actId="47"/>
        <pc:sldMkLst>
          <pc:docMk/>
          <pc:sldMk cId="2751850254" sldId="2141411562"/>
        </pc:sldMkLst>
      </pc:sldChg>
      <pc:sldChg chg="addSp modSp add mod">
        <pc:chgData name="Kevin" userId="e60c6aad-8614-4884-8dc2-e8f78e5022b5" providerId="ADAL" clId="{C0B8B98D-D73E-4793-8C05-377D40232342}" dt="2023-06-01T18:18:14.107" v="347" actId="20577"/>
        <pc:sldMkLst>
          <pc:docMk/>
          <pc:sldMk cId="1713826490" sldId="2141411563"/>
        </pc:sldMkLst>
        <pc:spChg chg="mod">
          <ac:chgData name="Kevin" userId="e60c6aad-8614-4884-8dc2-e8f78e5022b5" providerId="ADAL" clId="{C0B8B98D-D73E-4793-8C05-377D40232342}" dt="2023-06-01T18:18:14.107" v="347" actId="20577"/>
          <ac:spMkLst>
            <pc:docMk/>
            <pc:sldMk cId="1713826490" sldId="2141411563"/>
            <ac:spMk id="3" creationId="{9EA6F890-192F-4495-95FE-E7EA7DADA00B}"/>
          </ac:spMkLst>
        </pc:spChg>
        <pc:spChg chg="mod">
          <ac:chgData name="Kevin" userId="e60c6aad-8614-4884-8dc2-e8f78e5022b5" providerId="ADAL" clId="{C0B8B98D-D73E-4793-8C05-377D40232342}" dt="2023-06-01T18:12:40.734" v="179"/>
          <ac:spMkLst>
            <pc:docMk/>
            <pc:sldMk cId="1713826490" sldId="2141411563"/>
            <ac:spMk id="4" creationId="{1CCD6C1B-3C18-4BBD-9056-72F40A1C644D}"/>
          </ac:spMkLst>
        </pc:spChg>
        <pc:picChg chg="add mod">
          <ac:chgData name="Kevin" userId="e60c6aad-8614-4884-8dc2-e8f78e5022b5" providerId="ADAL" clId="{C0B8B98D-D73E-4793-8C05-377D40232342}" dt="2023-06-01T18:18:07.528" v="344" actId="1076"/>
          <ac:picMkLst>
            <pc:docMk/>
            <pc:sldMk cId="1713826490" sldId="2141411563"/>
            <ac:picMk id="5" creationId="{53A61B6C-A707-439F-920B-9BF060FD7F94}"/>
          </ac:picMkLst>
        </pc:picChg>
      </pc:sldChg>
      <pc:sldChg chg="delSp modSp add mod">
        <pc:chgData name="Kevin" userId="e60c6aad-8614-4884-8dc2-e8f78e5022b5" providerId="ADAL" clId="{C0B8B98D-D73E-4793-8C05-377D40232342}" dt="2023-06-01T18:26:13.861" v="1085" actId="1076"/>
        <pc:sldMkLst>
          <pc:docMk/>
          <pc:sldMk cId="2805232867" sldId="2141411564"/>
        </pc:sldMkLst>
        <pc:spChg chg="mod">
          <ac:chgData name="Kevin" userId="e60c6aad-8614-4884-8dc2-e8f78e5022b5" providerId="ADAL" clId="{C0B8B98D-D73E-4793-8C05-377D40232342}" dt="2023-06-01T18:26:13.861" v="1085" actId="1076"/>
          <ac:spMkLst>
            <pc:docMk/>
            <pc:sldMk cId="2805232867" sldId="2141411564"/>
            <ac:spMk id="3" creationId="{9EA6F890-192F-4495-95FE-E7EA7DADA00B}"/>
          </ac:spMkLst>
        </pc:spChg>
        <pc:picChg chg="del">
          <ac:chgData name="Kevin" userId="e60c6aad-8614-4884-8dc2-e8f78e5022b5" providerId="ADAL" clId="{C0B8B98D-D73E-4793-8C05-377D40232342}" dt="2023-06-01T18:18:49.872" v="349" actId="478"/>
          <ac:picMkLst>
            <pc:docMk/>
            <pc:sldMk cId="2805232867" sldId="2141411564"/>
            <ac:picMk id="5" creationId="{53A61B6C-A707-439F-920B-9BF060FD7F94}"/>
          </ac:picMkLst>
        </pc:picChg>
      </pc:sldChg>
      <pc:sldChg chg="addSp delSp modSp add mod">
        <pc:chgData name="Kevin" userId="e60c6aad-8614-4884-8dc2-e8f78e5022b5" providerId="ADAL" clId="{C0B8B98D-D73E-4793-8C05-377D40232342}" dt="2023-06-01T18:39:21.956" v="1484" actId="404"/>
        <pc:sldMkLst>
          <pc:docMk/>
          <pc:sldMk cId="3984087293" sldId="2141411565"/>
        </pc:sldMkLst>
        <pc:spChg chg="mod">
          <ac:chgData name="Kevin" userId="e60c6aad-8614-4884-8dc2-e8f78e5022b5" providerId="ADAL" clId="{C0B8B98D-D73E-4793-8C05-377D40232342}" dt="2023-06-01T18:39:21.956" v="1484" actId="404"/>
          <ac:spMkLst>
            <pc:docMk/>
            <pc:sldMk cId="3984087293" sldId="2141411565"/>
            <ac:spMk id="3" creationId="{9EA6F890-192F-4495-95FE-E7EA7DADA00B}"/>
          </ac:spMkLst>
        </pc:spChg>
        <pc:spChg chg="mod">
          <ac:chgData name="Kevin" userId="e60c6aad-8614-4884-8dc2-e8f78e5022b5" providerId="ADAL" clId="{C0B8B98D-D73E-4793-8C05-377D40232342}" dt="2023-06-01T18:33:28.453" v="1217"/>
          <ac:spMkLst>
            <pc:docMk/>
            <pc:sldMk cId="3984087293" sldId="2141411565"/>
            <ac:spMk id="4" creationId="{1CCD6C1B-3C18-4BBD-9056-72F40A1C644D}"/>
          </ac:spMkLst>
        </pc:spChg>
        <pc:picChg chg="del">
          <ac:chgData name="Kevin" userId="e60c6aad-8614-4884-8dc2-e8f78e5022b5" providerId="ADAL" clId="{C0B8B98D-D73E-4793-8C05-377D40232342}" dt="2023-06-01T18:33:16.770" v="1216" actId="478"/>
          <ac:picMkLst>
            <pc:docMk/>
            <pc:sldMk cId="3984087293" sldId="2141411565"/>
            <ac:picMk id="5" creationId="{1A6CFFC7-3C5C-451C-B7EC-54612C1FB184}"/>
          </ac:picMkLst>
        </pc:picChg>
        <pc:picChg chg="add mod">
          <ac:chgData name="Kevin" userId="e60c6aad-8614-4884-8dc2-e8f78e5022b5" providerId="ADAL" clId="{C0B8B98D-D73E-4793-8C05-377D40232342}" dt="2023-06-01T18:34:52.443" v="1220" actId="1076"/>
          <ac:picMkLst>
            <pc:docMk/>
            <pc:sldMk cId="3984087293" sldId="2141411565"/>
            <ac:picMk id="6" creationId="{D912A527-C296-4E2D-B81C-0D60F2AD51FD}"/>
          </ac:picMkLst>
        </pc:picChg>
      </pc:sldChg>
      <pc:sldChg chg="addSp delSp modSp add mod">
        <pc:chgData name="Kevin" userId="e60c6aad-8614-4884-8dc2-e8f78e5022b5" providerId="ADAL" clId="{C0B8B98D-D73E-4793-8C05-377D40232342}" dt="2023-06-01T18:44:37.626" v="1776" actId="6549"/>
        <pc:sldMkLst>
          <pc:docMk/>
          <pc:sldMk cId="2413391817" sldId="2141411566"/>
        </pc:sldMkLst>
        <pc:spChg chg="mod">
          <ac:chgData name="Kevin" userId="e60c6aad-8614-4884-8dc2-e8f78e5022b5" providerId="ADAL" clId="{C0B8B98D-D73E-4793-8C05-377D40232342}" dt="2023-06-01T18:44:37.626" v="1776" actId="6549"/>
          <ac:spMkLst>
            <pc:docMk/>
            <pc:sldMk cId="2413391817" sldId="2141411566"/>
            <ac:spMk id="3" creationId="{9EA6F890-192F-4495-95FE-E7EA7DADA00B}"/>
          </ac:spMkLst>
        </pc:spChg>
        <pc:picChg chg="add mod">
          <ac:chgData name="Kevin" userId="e60c6aad-8614-4884-8dc2-e8f78e5022b5" providerId="ADAL" clId="{C0B8B98D-D73E-4793-8C05-377D40232342}" dt="2023-06-01T18:40:45.736" v="1492" actId="1076"/>
          <ac:picMkLst>
            <pc:docMk/>
            <pc:sldMk cId="2413391817" sldId="2141411566"/>
            <ac:picMk id="5" creationId="{82EF73EA-EB39-433A-9650-5ADC33B9175E}"/>
          </ac:picMkLst>
        </pc:picChg>
        <pc:picChg chg="del">
          <ac:chgData name="Kevin" userId="e60c6aad-8614-4884-8dc2-e8f78e5022b5" providerId="ADAL" clId="{C0B8B98D-D73E-4793-8C05-377D40232342}" dt="2023-06-01T18:40:15.199" v="1487" actId="478"/>
          <ac:picMkLst>
            <pc:docMk/>
            <pc:sldMk cId="2413391817" sldId="2141411566"/>
            <ac:picMk id="6" creationId="{D912A527-C296-4E2D-B81C-0D60F2AD51FD}"/>
          </ac:picMkLst>
        </pc:picChg>
      </pc:sldChg>
      <pc:sldChg chg="addSp delSp modSp add mod">
        <pc:chgData name="Kevin" userId="e60c6aad-8614-4884-8dc2-e8f78e5022b5" providerId="ADAL" clId="{C0B8B98D-D73E-4793-8C05-377D40232342}" dt="2023-06-01T18:52:20.288" v="2052" actId="1076"/>
        <pc:sldMkLst>
          <pc:docMk/>
          <pc:sldMk cId="217982368" sldId="2141411567"/>
        </pc:sldMkLst>
        <pc:spChg chg="mod">
          <ac:chgData name="Kevin" userId="e60c6aad-8614-4884-8dc2-e8f78e5022b5" providerId="ADAL" clId="{C0B8B98D-D73E-4793-8C05-377D40232342}" dt="2023-06-01T18:51:14.223" v="2049" actId="14100"/>
          <ac:spMkLst>
            <pc:docMk/>
            <pc:sldMk cId="217982368" sldId="2141411567"/>
            <ac:spMk id="3" creationId="{9EA6F890-192F-4495-95FE-E7EA7DADA00B}"/>
          </ac:spMkLst>
        </pc:spChg>
        <pc:picChg chg="del">
          <ac:chgData name="Kevin" userId="e60c6aad-8614-4884-8dc2-e8f78e5022b5" providerId="ADAL" clId="{C0B8B98D-D73E-4793-8C05-377D40232342}" dt="2023-06-01T18:45:42.896" v="1778" actId="478"/>
          <ac:picMkLst>
            <pc:docMk/>
            <pc:sldMk cId="217982368" sldId="2141411567"/>
            <ac:picMk id="5" creationId="{82EF73EA-EB39-433A-9650-5ADC33B9175E}"/>
          </ac:picMkLst>
        </pc:picChg>
        <pc:picChg chg="add mod">
          <ac:chgData name="Kevin" userId="e60c6aad-8614-4884-8dc2-e8f78e5022b5" providerId="ADAL" clId="{C0B8B98D-D73E-4793-8C05-377D40232342}" dt="2023-06-01T18:52:20.288" v="2052" actId="1076"/>
          <ac:picMkLst>
            <pc:docMk/>
            <pc:sldMk cId="217982368" sldId="2141411567"/>
            <ac:picMk id="6" creationId="{3A6A709F-6FA7-42E6-A175-872C195323B8}"/>
          </ac:picMkLst>
        </pc:picChg>
      </pc:sldChg>
      <pc:sldChg chg="addSp delSp modSp add mod">
        <pc:chgData name="Kevin" userId="e60c6aad-8614-4884-8dc2-e8f78e5022b5" providerId="ADAL" clId="{C0B8B98D-D73E-4793-8C05-377D40232342}" dt="2023-06-01T18:56:53.232" v="2066" actId="1076"/>
        <pc:sldMkLst>
          <pc:docMk/>
          <pc:sldMk cId="23409199" sldId="2141411568"/>
        </pc:sldMkLst>
        <pc:spChg chg="del">
          <ac:chgData name="Kevin" userId="e60c6aad-8614-4884-8dc2-e8f78e5022b5" providerId="ADAL" clId="{C0B8B98D-D73E-4793-8C05-377D40232342}" dt="2023-06-01T18:56:29.031" v="2060" actId="478"/>
          <ac:spMkLst>
            <pc:docMk/>
            <pc:sldMk cId="23409199" sldId="2141411568"/>
            <ac:spMk id="3" creationId="{9EA6F890-192F-4495-95FE-E7EA7DADA00B}"/>
          </ac:spMkLst>
        </pc:spChg>
        <pc:spChg chg="add del mod">
          <ac:chgData name="Kevin" userId="e60c6aad-8614-4884-8dc2-e8f78e5022b5" providerId="ADAL" clId="{C0B8B98D-D73E-4793-8C05-377D40232342}" dt="2023-06-01T18:56:37.351" v="2062" actId="478"/>
          <ac:spMkLst>
            <pc:docMk/>
            <pc:sldMk cId="23409199" sldId="2141411568"/>
            <ac:spMk id="7" creationId="{A206102E-868F-4F2F-9D35-9062EB4CA222}"/>
          </ac:spMkLst>
        </pc:spChg>
        <pc:picChg chg="add mod">
          <ac:chgData name="Kevin" userId="e60c6aad-8614-4884-8dc2-e8f78e5022b5" providerId="ADAL" clId="{C0B8B98D-D73E-4793-8C05-377D40232342}" dt="2023-06-01T18:56:53.232" v="2066" actId="1076"/>
          <ac:picMkLst>
            <pc:docMk/>
            <pc:sldMk cId="23409199" sldId="2141411568"/>
            <ac:picMk id="5" creationId="{1017413E-9F90-4253-9BE1-BACD3E51B6C1}"/>
          </ac:picMkLst>
        </pc:picChg>
        <pc:picChg chg="del">
          <ac:chgData name="Kevin" userId="e60c6aad-8614-4884-8dc2-e8f78e5022b5" providerId="ADAL" clId="{C0B8B98D-D73E-4793-8C05-377D40232342}" dt="2023-06-01T18:55:17.504" v="2054" actId="478"/>
          <ac:picMkLst>
            <pc:docMk/>
            <pc:sldMk cId="23409199" sldId="2141411568"/>
            <ac:picMk id="6" creationId="{3A6A709F-6FA7-42E6-A175-872C195323B8}"/>
          </ac:picMkLst>
        </pc:picChg>
      </pc:sldChg>
      <pc:sldChg chg="modSp add mod">
        <pc:chgData name="Kevin" userId="e60c6aad-8614-4884-8dc2-e8f78e5022b5" providerId="ADAL" clId="{C0B8B98D-D73E-4793-8C05-377D40232342}" dt="2023-06-01T19:32:35.467" v="2459" actId="20577"/>
        <pc:sldMkLst>
          <pc:docMk/>
          <pc:sldMk cId="4179999447" sldId="2141411569"/>
        </pc:sldMkLst>
        <pc:spChg chg="mod">
          <ac:chgData name="Kevin" userId="e60c6aad-8614-4884-8dc2-e8f78e5022b5" providerId="ADAL" clId="{C0B8B98D-D73E-4793-8C05-377D40232342}" dt="2023-06-01T19:32:35.467" v="2459" actId="20577"/>
          <ac:spMkLst>
            <pc:docMk/>
            <pc:sldMk cId="4179999447" sldId="2141411569"/>
            <ac:spMk id="3" creationId="{9EA6F890-192F-4495-95FE-E7EA7DADA00B}"/>
          </ac:spMkLst>
        </pc:spChg>
        <pc:spChg chg="mod">
          <ac:chgData name="Kevin" userId="e60c6aad-8614-4884-8dc2-e8f78e5022b5" providerId="ADAL" clId="{C0B8B98D-D73E-4793-8C05-377D40232342}" dt="2023-06-01T19:00:46.369" v="2074"/>
          <ac:spMkLst>
            <pc:docMk/>
            <pc:sldMk cId="4179999447" sldId="2141411569"/>
            <ac:spMk id="4" creationId="{1CCD6C1B-3C18-4BBD-9056-72F40A1C644D}"/>
          </ac:spMkLst>
        </pc:spChg>
      </pc:sldChg>
    </pc:docChg>
  </pc:docChgLst>
  <pc:docChgLst>
    <pc:chgData name="Kevin" userId="e60c6aad-8614-4884-8dc2-e8f78e5022b5" providerId="ADAL" clId="{C25CE596-4CC2-4075-9013-C5B555CC2596}"/>
    <pc:docChg chg="custSel modSld">
      <pc:chgData name="Kevin" userId="e60c6aad-8614-4884-8dc2-e8f78e5022b5" providerId="ADAL" clId="{C25CE596-4CC2-4075-9013-C5B555CC2596}" dt="2023-06-01T21:03:37.214" v="169" actId="207"/>
      <pc:docMkLst>
        <pc:docMk/>
      </pc:docMkLst>
      <pc:sldChg chg="modSp mod">
        <pc:chgData name="Kevin" userId="e60c6aad-8614-4884-8dc2-e8f78e5022b5" providerId="ADAL" clId="{C25CE596-4CC2-4075-9013-C5B555CC2596}" dt="2023-06-01T21:03:37.214" v="169" actId="207"/>
        <pc:sldMkLst>
          <pc:docMk/>
          <pc:sldMk cId="3173487482" sldId="2141411554"/>
        </pc:sldMkLst>
        <pc:spChg chg="mod">
          <ac:chgData name="Kevin" userId="e60c6aad-8614-4884-8dc2-e8f78e5022b5" providerId="ADAL" clId="{C25CE596-4CC2-4075-9013-C5B555CC2596}" dt="2023-06-01T21:03:37.214" v="169" actId="207"/>
          <ac:spMkLst>
            <pc:docMk/>
            <pc:sldMk cId="3173487482" sldId="2141411554"/>
            <ac:spMk id="3" creationId="{E1F3F72A-850B-4B6D-BB79-4D65474A047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890916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9761" y="1"/>
            <a:ext cx="2890915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fld id="{D8211FFE-B3EB-1B4F-A849-3CF65CAE83E6}" type="datetime1">
              <a:rPr lang="en-GB" smtClean="0"/>
              <a:t>01/06/2023</a:t>
            </a:fld>
            <a:endParaRPr lang="en-US"/>
          </a:p>
        </p:txBody>
      </p:sp>
      <p:sp>
        <p:nvSpPr>
          <p:cNvPr id="9220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289191"/>
            <a:ext cx="2890916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1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9761" y="9289191"/>
            <a:ext cx="2890915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fld id="{350ECF5C-888C-41F6-A366-B80CE9FF0D5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117833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1085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8312" y="1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C31C4EFE-BC34-5643-BA96-233A28E9007A}" type="datetime1">
              <a:rPr lang="en-GB" smtClean="0"/>
              <a:t>01/06/2023</a:t>
            </a:fld>
            <a:endParaRPr lang="en-GB"/>
          </a:p>
        </p:txBody>
      </p:sp>
      <p:sp>
        <p:nvSpPr>
          <p:cNvPr id="1085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7788" y="733425"/>
            <a:ext cx="6515100" cy="36655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085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67358" y="4644596"/>
            <a:ext cx="5335961" cy="43988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85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287575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1085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8312" y="9287575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DD779895-3E67-4CB8-BE0C-23F3FD5FF7F3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61629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609539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1219080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82861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243815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3047696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235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773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313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04472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83EBF3A2-2E7C-4F57-BC5D-3417991A9CB8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7845B65-2392-4819-94E4-E3EB31C4C4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8"/>
            <a:ext cx="7392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55748E-1187-40E6-90FF-F8CB13BAB0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1060961F-7E65-4122-8275-120EE663A9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D1AD628-1E99-41AE-A4DE-E8D47E3F2A00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6" name="Guidance note">
              <a:extLst>
                <a:ext uri="{FF2B5EF4-FFF2-40B4-BE49-F238E27FC236}">
                  <a16:creationId xmlns:a16="http://schemas.microsoft.com/office/drawing/2014/main" id="{C3AD16BC-865F-4730-B576-3924C11BBB5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918825A-E661-4165-AFAF-DF026ACCBF7D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8" name="Picture 3">
                <a:extLst>
                  <a:ext uri="{FF2B5EF4-FFF2-40B4-BE49-F238E27FC236}">
                    <a16:creationId xmlns:a16="http://schemas.microsoft.com/office/drawing/2014/main" id="{D670EEFD-71A1-460B-93B0-010CABE4F6E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Rounded Rectangle 20">
                <a:extLst>
                  <a:ext uri="{FF2B5EF4-FFF2-40B4-BE49-F238E27FC236}">
                    <a16:creationId xmlns:a16="http://schemas.microsoft.com/office/drawing/2014/main" id="{518490A9-DA83-4553-86AD-17100E2D20A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1" name="Guidance note">
            <a:extLst>
              <a:ext uri="{FF2B5EF4-FFF2-40B4-BE49-F238E27FC236}">
                <a16:creationId xmlns:a16="http://schemas.microsoft.com/office/drawing/2014/main" id="{00BC0673-5213-4DA3-BE67-C1DB97C4A10F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11550186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FC37DAF-12F7-4FE3-99E2-B1BC731C4CD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EC6E2C5-7988-4109-B04E-4C5B434E0D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hart Placeholder 5">
            <a:extLst>
              <a:ext uri="{FF2B5EF4-FFF2-40B4-BE49-F238E27FC236}">
                <a16:creationId xmlns:a16="http://schemas.microsoft.com/office/drawing/2014/main" id="{59BB4BB1-10D0-4A42-B2B1-1F058F0E599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803B18-A6C4-48D8-9A57-624954E4C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03A40AB7-029F-4311-80FC-0AAAE2F69D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D78705A-DCC5-4C39-8BC7-0071FE0B6E9D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C6E2522F-9DAA-41D3-8636-CA2AD6DF26DE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F8CA62A-2C50-48E5-8954-5C3104C2B475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37ACEAC6-5EC9-49C5-A059-7A0DC1FCC3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13E90BA5-7852-4BC3-A7C6-1D57B4B4776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Guidance note">
            <a:extLst>
              <a:ext uri="{FF2B5EF4-FFF2-40B4-BE49-F238E27FC236}">
                <a16:creationId xmlns:a16="http://schemas.microsoft.com/office/drawing/2014/main" id="{395CA386-D2EE-45ED-B3EB-20DC32FFECC9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3060879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1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241192424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rt Placeholder 5"/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73914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AF0A20-4521-4105-B244-E4D7D8DC46D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F3D2E9-D3DF-4073-8942-F51EDC9F9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B8E8D2DA-923C-46FD-AE23-D8997A885C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54C5F39-EE55-4150-AE38-A7A999F3BA25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025D7FB3-CF69-4E08-8922-003EB4E3975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28045C4-A569-4BC0-A2C6-680DA682611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0FD70A2C-539C-4A23-AF36-00B08ACFA1A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A36B5CC0-766A-45B5-97A8-7C56DFCFC8EE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9" name="Guidance note">
            <a:extLst>
              <a:ext uri="{FF2B5EF4-FFF2-40B4-BE49-F238E27FC236}">
                <a16:creationId xmlns:a16="http://schemas.microsoft.com/office/drawing/2014/main" id="{9FC3F62A-60AD-47BF-8C6C-EA4FD3505A95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32529571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5B49068-D080-4ACE-BA89-F101FF74DD6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230DD3F-5BD6-47DB-88DD-B17645228A0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5F1110-D46C-45FE-84D5-25150A01F2E3}"/>
              </a:ext>
            </a:extLst>
          </p:cNvPr>
          <p:cNvCxnSpPr>
            <a:cxnSpLocks/>
          </p:cNvCxnSpPr>
          <p:nvPr userDrawn="1"/>
        </p:nvCxnSpPr>
        <p:spPr>
          <a:xfrm>
            <a:off x="431800" y="2957420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544F918-5B29-4CA8-B698-287CEE5C612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1" y="1416000"/>
            <a:ext cx="1325715" cy="1440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C926757-B24B-4CFA-A750-5FFEEEF69A8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3081529"/>
            <a:ext cx="3456517" cy="146719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867"/>
            </a:lvl1pPr>
            <a:lvl2pPr>
              <a:spcBef>
                <a:spcPts val="0"/>
              </a:spcBef>
              <a:spcAft>
                <a:spcPts val="267"/>
              </a:spcAft>
              <a:defRPr sz="18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6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6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341570-0A8C-4A6D-9F75-3FF3D83330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65364470-3814-46DA-81B6-9B6ABEDC8B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E9C2C4D-4ACC-4F73-A4B9-04807E3ACA87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9" name="Guidance note">
              <a:extLst>
                <a:ext uri="{FF2B5EF4-FFF2-40B4-BE49-F238E27FC236}">
                  <a16:creationId xmlns:a16="http://schemas.microsoft.com/office/drawing/2014/main" id="{E9DBA4A0-469B-42D9-A384-66D0F7F5CF1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F513AB0-B464-432C-96F6-C01AE1AD896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69D17DA6-BCD4-4046-9D31-CF5D433902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8B82DBD2-6FB6-4465-9E2D-6DA528C0AEC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Round Diagonal Corner Rectangle 4">
            <a:extLst>
              <a:ext uri="{FF2B5EF4-FFF2-40B4-BE49-F238E27FC236}">
                <a16:creationId xmlns:a16="http://schemas.microsoft.com/office/drawing/2014/main" id="{CCFF34D1-F27E-4737-B8CF-F9385F2D624E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7422154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8B2B09D-D81C-4260-912F-CB531B07FB99}"/>
              </a:ext>
            </a:extLst>
          </p:cNvPr>
          <p:cNvCxnSpPr>
            <a:cxnSpLocks/>
          </p:cNvCxnSpPr>
          <p:nvPr userDrawn="1"/>
        </p:nvCxnSpPr>
        <p:spPr>
          <a:xfrm>
            <a:off x="431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A143F75-F1B4-412B-A3E2-850CC3D2A5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988D91BD-83E2-4D8E-A9D9-FB230B58F4C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C82E8DE-D700-4FDB-B492-FBBE73708601}"/>
              </a:ext>
            </a:extLst>
          </p:cNvPr>
          <p:cNvCxnSpPr>
            <a:cxnSpLocks/>
          </p:cNvCxnSpPr>
          <p:nvPr userDrawn="1"/>
        </p:nvCxnSpPr>
        <p:spPr>
          <a:xfrm>
            <a:off x="4368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A797DDDD-D10E-4826-9799-F77851FA3A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68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BE7E812B-C0C2-4E15-A5E1-88C87117715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368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5E4984C-A870-48D7-A38E-4D226B28CF21}"/>
              </a:ext>
            </a:extLst>
          </p:cNvPr>
          <p:cNvCxnSpPr>
            <a:cxnSpLocks/>
          </p:cNvCxnSpPr>
          <p:nvPr userDrawn="1"/>
        </p:nvCxnSpPr>
        <p:spPr>
          <a:xfrm>
            <a:off x="8303683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D3ACC50D-43D4-45A0-975F-9B408E6BD14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303683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B3C3C8F3-419D-4EF9-BB29-AE7F1F1732D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303685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BB4D65-DB5D-4395-AECD-E4A4DD1DC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D674DDD-BACE-4633-A51D-B34FB33EEC8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38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901DDDCC-04BF-4981-893E-E22AFEDF5AC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575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F15142A3-375C-45DF-AF42-2245E24CD46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512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7" name="Footer Placeholder 2">
            <a:extLst>
              <a:ext uri="{FF2B5EF4-FFF2-40B4-BE49-F238E27FC236}">
                <a16:creationId xmlns:a16="http://schemas.microsoft.com/office/drawing/2014/main" id="{45A0E1D1-8595-4E45-A401-A475018540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815125D-7568-4091-BEEB-35B82C7A282E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44" name="Guidance note">
              <a:extLst>
                <a:ext uri="{FF2B5EF4-FFF2-40B4-BE49-F238E27FC236}">
                  <a16:creationId xmlns:a16="http://schemas.microsoft.com/office/drawing/2014/main" id="{05DADCA8-9F14-4D3E-AEA6-3968A4B99D52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35567F3E-A867-493E-9CDF-6C283ED69F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46" name="Picture 3">
                <a:extLst>
                  <a:ext uri="{FF2B5EF4-FFF2-40B4-BE49-F238E27FC236}">
                    <a16:creationId xmlns:a16="http://schemas.microsoft.com/office/drawing/2014/main" id="{EF71D8E4-9AAD-42D4-BB7D-BD4FF105C45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7" name="Rounded Rectangle 20">
                <a:extLst>
                  <a:ext uri="{FF2B5EF4-FFF2-40B4-BE49-F238E27FC236}">
                    <a16:creationId xmlns:a16="http://schemas.microsoft.com/office/drawing/2014/main" id="{F43BCCBD-E91E-4385-9D1C-933F4A1EFF49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48" name="Round Diagonal Corner Rectangle 4">
            <a:extLst>
              <a:ext uri="{FF2B5EF4-FFF2-40B4-BE49-F238E27FC236}">
                <a16:creationId xmlns:a16="http://schemas.microsoft.com/office/drawing/2014/main" id="{DCC9EC93-F46B-4A7B-8A65-57D85F810085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5674972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/>
          <a:srcRect l="7480" t="27066" r="32612"/>
          <a:stretch/>
        </p:blipFill>
        <p:spPr>
          <a:xfrm rot="16200000" flipV="1">
            <a:off x="6262073" y="928073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1691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/>
          <a:srcRect l="7480" t="27066" r="32612"/>
          <a:stretch/>
        </p:blipFill>
        <p:spPr>
          <a:xfrm flipV="1">
            <a:off x="5334000" y="1856146"/>
            <a:ext cx="6858000" cy="500185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9175715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2" y="2771098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525722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1" y="6371168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</p:grpSp>
    </p:spTree>
    <p:extLst>
      <p:ext uri="{BB962C8B-B14F-4D97-AF65-F5344CB8AC3E}">
        <p14:creationId xmlns:p14="http://schemas.microsoft.com/office/powerpoint/2010/main" val="345501122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8"/>
            <a:ext cx="73912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5"/>
            <a:ext cx="739282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415EBFD-084A-4878-8287-2E1A3FCE8D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66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308CCAE-A613-4894-962F-B9332D979AE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8" name="Guidance note">
              <a:extLst>
                <a:ext uri="{FF2B5EF4-FFF2-40B4-BE49-F238E27FC236}">
                  <a16:creationId xmlns:a16="http://schemas.microsoft.com/office/drawing/2014/main" id="{753381CB-CFAD-4C37-9043-05C8A52380A7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A04F91-854A-4895-BD97-24C8BB928F41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0" name="Picture 3">
                <a:extLst>
                  <a:ext uri="{FF2B5EF4-FFF2-40B4-BE49-F238E27FC236}">
                    <a16:creationId xmlns:a16="http://schemas.microsoft.com/office/drawing/2014/main" id="{9CABB711-E1AB-41A2-A779-C8967E1B90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0">
                <a:extLst>
                  <a:ext uri="{FF2B5EF4-FFF2-40B4-BE49-F238E27FC236}">
                    <a16:creationId xmlns:a16="http://schemas.microsoft.com/office/drawing/2014/main" id="{702CAAD7-0480-4B1D-A46C-986161320307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97860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AFBA3F-70E9-423A-A243-375DD069F2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296428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AFBA3F-70E9-423A-A243-375DD069F2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AAD4DB-B387-4CBE-9C6B-9A8BEF9DD80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9"/>
            <a:ext cx="11101239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6"/>
            <a:ext cx="1110286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59472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80" t="27066" r="32612"/>
          <a:stretch/>
        </p:blipFill>
        <p:spPr>
          <a:xfrm rot="16200000" flipV="1">
            <a:off x="6262073" y="928074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8111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588593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3" y="2771099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86774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67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6" y="2853770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0418415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2" y="6371169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66689435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AFBA3F-70E9-423A-A243-375DD069F2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811829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AFBA3F-70E9-423A-A243-375DD069F2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AAD4DB-B387-4CBE-9C6B-9A8BEF9DD80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9"/>
            <a:ext cx="11101239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6"/>
            <a:ext cx="1110286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67754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80" t="27066" r="32612"/>
          <a:stretch/>
        </p:blipFill>
        <p:spPr>
          <a:xfrm rot="16200000" flipV="1">
            <a:off x="6262073" y="928074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7165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67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6" y="2853770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5831107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F52CBFD-699B-45C5-A157-E323D3A6D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54D8696-31B7-4DB8-B15D-873BDA4653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5184" y="1416668"/>
            <a:ext cx="5424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42441E-8F2C-4081-9DA0-77F80225EC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EB7EAF22-09C0-49C9-9811-75AF4CD216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6800D90-E2FB-42D1-8CB6-1955ED54612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819ED999-6999-46F4-B7A1-EFF10837A570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1B633B5A-3193-4605-B154-E0B8CB89CCB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585F499E-E2AE-40D1-BBDA-189BC79FDB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752EE2C4-E482-438A-9070-A14C38B6146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836630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0C88B5B-AAF5-47BD-AD69-1EE3F9438DF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37301" y="1416051"/>
            <a:ext cx="5402583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44373E4D-07C5-468F-A7BD-C7AD22C776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BC6F12F-E651-47EF-873C-C4BCFD73026C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34" name="Guidance note">
              <a:extLst>
                <a:ext uri="{FF2B5EF4-FFF2-40B4-BE49-F238E27FC236}">
                  <a16:creationId xmlns:a16="http://schemas.microsoft.com/office/drawing/2014/main" id="{F95C3436-B6EE-47A5-8CDF-DFC1CEE6A78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50E3572-442E-4063-AED5-829AB7EAA7C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6" name="Picture 3">
                <a:extLst>
                  <a:ext uri="{FF2B5EF4-FFF2-40B4-BE49-F238E27FC236}">
                    <a16:creationId xmlns:a16="http://schemas.microsoft.com/office/drawing/2014/main" id="{97890FFF-8342-4E6A-B73E-44D0FCF7A25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7" name="Rounded Rectangle 20">
                <a:extLst>
                  <a:ext uri="{FF2B5EF4-FFF2-40B4-BE49-F238E27FC236}">
                    <a16:creationId xmlns:a16="http://schemas.microsoft.com/office/drawing/2014/main" id="{C5F8D64F-558B-4EE8-B969-C40A6125D25D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9" name="Round Diagonal Corner Rectangle 4">
            <a:extLst>
              <a:ext uri="{FF2B5EF4-FFF2-40B4-BE49-F238E27FC236}">
                <a16:creationId xmlns:a16="http://schemas.microsoft.com/office/drawing/2014/main" id="{DEEFE2A4-9E60-4329-8F38-C8621FA2D86F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2396611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5" y="1416051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7855971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8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5281" y="1416667"/>
            <a:ext cx="3456000" cy="2092880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8401A2-6451-4E45-96E0-C555AE389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1993E21-89C4-43F1-B0DA-3D71670B0B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2EC9A99-CBD6-4BA5-A71D-10F2DFE9CFA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6ADE5D12-11A2-4CCE-81CB-203511BF5C3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081217D-4EA5-40B0-9EA6-FAD35195E17C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464DB892-B193-4994-87A1-F3005D1BEA0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" name="Rounded Rectangle 20">
                <a:extLst>
                  <a:ext uri="{FF2B5EF4-FFF2-40B4-BE49-F238E27FC236}">
                    <a16:creationId xmlns:a16="http://schemas.microsoft.com/office/drawing/2014/main" id="{4CE544B9-8DF2-4C6C-B878-A4384379E280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164807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96A342-D873-47FF-A0CB-ED762BAF6C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F1F48095-532B-4817-BFFB-AF6AF6A81C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2F101B0-C15C-4E8B-BCD8-94C6F9FA8B7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7" name="Guidance note">
              <a:extLst>
                <a:ext uri="{FF2B5EF4-FFF2-40B4-BE49-F238E27FC236}">
                  <a16:creationId xmlns:a16="http://schemas.microsoft.com/office/drawing/2014/main" id="{5019EF20-6B36-43C9-BDEB-3621A64EB545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B21C0FE1-B9EF-4B93-932D-4FD8C477B3AE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9" name="Picture 3">
                <a:extLst>
                  <a:ext uri="{FF2B5EF4-FFF2-40B4-BE49-F238E27FC236}">
                    <a16:creationId xmlns:a16="http://schemas.microsoft.com/office/drawing/2014/main" id="{7C1D4B64-6112-4E50-93D6-4D6DF530DF8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0" name="Rounded Rectangle 20">
                <a:extLst>
                  <a:ext uri="{FF2B5EF4-FFF2-40B4-BE49-F238E27FC236}">
                    <a16:creationId xmlns:a16="http://schemas.microsoft.com/office/drawing/2014/main" id="{4E55863B-5F7C-47FB-BB27-4E84CB7B252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59928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AFD44EC-D9DC-4A2D-91EF-9F07DE3F1CE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1999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D6B893-85E5-4E35-9461-E7E97ADE1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2177FB2-8BB7-4D7D-AD52-7C859E8DFE4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04000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 sz="24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CC0BFDE7-E46E-4D15-A8FA-219C8CB4D4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6F0B578-E378-46F0-A4C9-1552A629C76D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F2DEB423-320E-404F-8B3B-CCFAFB4B555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3BE6250-E57A-419B-A962-5A85632A71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0" name="Picture 3">
                <a:extLst>
                  <a:ext uri="{FF2B5EF4-FFF2-40B4-BE49-F238E27FC236}">
                    <a16:creationId xmlns:a16="http://schemas.microsoft.com/office/drawing/2014/main" id="{3815D591-B560-4B71-ACE3-786F10B3EDF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1" name="Rounded Rectangle 20">
                <a:extLst>
                  <a:ext uri="{FF2B5EF4-FFF2-40B4-BE49-F238E27FC236}">
                    <a16:creationId xmlns:a16="http://schemas.microsoft.com/office/drawing/2014/main" id="{D9C85BF9-7030-4B6C-A627-472B55A9DB3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717105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8"/>
            <a:ext cx="7392828" cy="2503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274085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22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image" Target="../media/image7.emf"/><Relationship Id="rId5" Type="http://schemas.openxmlformats.org/officeDocument/2006/relationships/slideLayout" Target="../slideLayouts/slideLayout24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23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slideLayout" Target="../slideLayouts/slideLayout28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077B87-3422-4388-8758-551D88FEA5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83565368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47" imgH="348" progId="TCLayout.ActiveDocument.1">
                  <p:embed/>
                </p:oleObj>
              </mc:Choice>
              <mc:Fallback>
                <p:oleObj name="think-cell Slide" r:id="rId2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077B87-3422-4388-8758-551D88FEA5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D663182-2F53-4B01-AB6F-460794093E7F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600"/>
              </a:spcAft>
            </a:pPr>
            <a:endParaRPr lang="en-US" sz="32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5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4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Heading 1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0" y="6320502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1" y="6320502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4" y="6320501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51" algn="l"/>
              </a:tabLst>
            </a:pPr>
            <a:r>
              <a:rPr lang="en-GB" sz="1467" b="1"/>
              <a:t>National Grid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800" r:id="rId2"/>
    <p:sldLayoutId id="2147483801" r:id="rId3"/>
    <p:sldLayoutId id="2147483803" r:id="rId4"/>
    <p:sldLayoutId id="2147483813" r:id="rId5"/>
    <p:sldLayoutId id="2147483804" r:id="rId6"/>
    <p:sldLayoutId id="2147483805" r:id="rId7"/>
    <p:sldLayoutId id="2147483806" r:id="rId8"/>
    <p:sldLayoutId id="2147483786" r:id="rId9"/>
    <p:sldLayoutId id="2147483808" r:id="rId10"/>
    <p:sldLayoutId id="2147483809" r:id="rId11"/>
    <p:sldLayoutId id="2147483814" r:id="rId12"/>
    <p:sldLayoutId id="2147483810" r:id="rId13"/>
    <p:sldLayoutId id="2147483811" r:id="rId14"/>
    <p:sldLayoutId id="2147483812" r:id="rId15"/>
    <p:sldLayoutId id="2147483790" r:id="rId16"/>
    <p:sldLayoutId id="2147483815" r:id="rId17"/>
    <p:sldLayoutId id="2147483816" r:id="rId18"/>
    <p:sldLayoutId id="2147483784" r:id="rId19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4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8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43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7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91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86524B7-D5EE-4904-8FE2-A8AF6A0BA5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84185338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86524B7-D5EE-4904-8FE2-A8AF6A0BA5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B43539B-4958-4C84-9B5E-7760A6CA0A53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FF0E86-C382-4328-B60B-9F1C705E2575}"/>
              </a:ext>
            </a:extLst>
          </p:cNvPr>
          <p:cNvSpPr txBox="1"/>
          <p:nvPr userDrawn="1"/>
        </p:nvSpPr>
        <p:spPr bwMode="auto">
          <a:xfrm>
            <a:off x="4494725" y="77273"/>
            <a:ext cx="245986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GB" sz="1400" b="0" kern="0">
                <a:solidFill>
                  <a:schemeClr val="tx1"/>
                </a:solidFill>
                <a:latin typeface="+mn-lt"/>
                <a:ea typeface="+mn-ea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42764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86524B7-D5EE-4904-8FE2-A8AF6A0BA5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3090645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86524B7-D5EE-4904-8FE2-A8AF6A0BA5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B43539B-4958-4C84-9B5E-7760A6CA0A53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FF0E86-C382-4328-B60B-9F1C705E2575}"/>
              </a:ext>
            </a:extLst>
          </p:cNvPr>
          <p:cNvSpPr txBox="1"/>
          <p:nvPr userDrawn="1"/>
        </p:nvSpPr>
        <p:spPr bwMode="auto">
          <a:xfrm>
            <a:off x="4494725" y="77273"/>
            <a:ext cx="245986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GB" sz="1400" b="0" kern="0">
                <a:solidFill>
                  <a:schemeClr val="tx1"/>
                </a:solidFill>
                <a:latin typeface="+mn-lt"/>
                <a:ea typeface="+mn-ea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29488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9" r:id="rId3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0261" y="1411817"/>
            <a:ext cx="10625529" cy="2481427"/>
          </a:xfrm>
        </p:spPr>
        <p:txBody>
          <a:bodyPr/>
          <a:lstStyle/>
          <a:p>
            <a:r>
              <a:rPr lang="en-GB" dirty="0"/>
              <a:t>Supply Analysis Working Group Update</a:t>
            </a:r>
            <a:br>
              <a:rPr lang="en-GB" dirty="0"/>
            </a:br>
            <a:r>
              <a:rPr lang="en-GB" dirty="0"/>
              <a:t>June 2023 Update to WMS</a:t>
            </a:r>
            <a:br>
              <a:rPr lang="en-GB" dirty="0"/>
            </a:br>
            <a:br>
              <a:rPr lang="en-GB" dirty="0"/>
            </a:b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40261" y="3599524"/>
            <a:ext cx="6406017" cy="1846659"/>
          </a:xfrm>
        </p:spPr>
        <p:txBody>
          <a:bodyPr/>
          <a:lstStyle/>
          <a:p>
            <a:r>
              <a:rPr lang="en-GB" b="0" dirty="0"/>
              <a:t>June 7, 2023</a:t>
            </a:r>
          </a:p>
          <a:p>
            <a:endParaRPr lang="en-GB" b="0" dirty="0"/>
          </a:p>
          <a:p>
            <a:r>
              <a:rPr lang="en-GB" b="0" dirty="0"/>
              <a:t>Kevin Hanson (National Grid) Chair</a:t>
            </a:r>
          </a:p>
          <a:p>
            <a:r>
              <a:rPr lang="en-GB" b="0" dirty="0"/>
              <a:t>Pete Warnken (ERCOT) Co-Vice Chair</a:t>
            </a:r>
          </a:p>
          <a:p>
            <a:r>
              <a:rPr lang="en-GB" b="0" dirty="0"/>
              <a:t>Ian Haley        (</a:t>
            </a:r>
            <a:r>
              <a:rPr lang="en-GB" b="0" dirty="0" err="1"/>
              <a:t>Vistra</a:t>
            </a:r>
            <a:r>
              <a:rPr lang="en-GB" b="0" dirty="0"/>
              <a:t>) Co-Vice Chair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13637431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A6F890-192F-4495-95FE-E7EA7DADA0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424518"/>
            <a:ext cx="10778909" cy="4308872"/>
          </a:xfrm>
        </p:spPr>
        <p:txBody>
          <a:bodyPr/>
          <a:lstStyle/>
          <a:p>
            <a:r>
              <a:rPr lang="en-US" dirty="0"/>
              <a:t>Pete Warnken presented the enhanced Reserve Risk Model Results</a:t>
            </a:r>
          </a:p>
          <a:p>
            <a:r>
              <a:rPr lang="en-US" dirty="0"/>
              <a:t>Hour 9 PM is now the hour with the most capacity scarcity risk due to more installed solar</a:t>
            </a:r>
          </a:p>
          <a:p>
            <a:r>
              <a:rPr lang="en-US" dirty="0"/>
              <a:t>Inclusion of Prices Responsive Demand is a major difference between the model and the SARA report, and helps explain why the SARA high/extreme scenario outcomes are more severe than the modeled Capacity Available for Operating Reserves (CAFOR) outcomes</a:t>
            </a:r>
          </a:p>
          <a:p>
            <a:r>
              <a:rPr lang="en-US" dirty="0"/>
              <a:t>The model uses a static amount of battery storage energy availability for all hours; an analysis is needed to determine how to best represent hourly State of Charge available for energy in the mod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CD6C1B-3C18-4BBD-9056-72F40A1C6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Summer 2023 Reserve Risk Model Resul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999447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36738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F3F72A-850B-4B6D-BB79-4D65474A04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424518"/>
            <a:ext cx="9593887" cy="4308872"/>
          </a:xfrm>
        </p:spPr>
        <p:txBody>
          <a:bodyPr/>
          <a:lstStyle/>
          <a:p>
            <a:r>
              <a:rPr lang="en-US" sz="1600" b="0" dirty="0">
                <a:solidFill>
                  <a:srgbClr val="FF0000"/>
                </a:solidFill>
                <a:latin typeface="Roboto" panose="02000000000000000000" pitchFamily="2" charset="0"/>
              </a:rPr>
              <a:t>Vice Chair has resigned due to employment change.</a:t>
            </a:r>
          </a:p>
          <a:p>
            <a:endParaRPr lang="en-US" sz="1600" b="0" i="0" dirty="0">
              <a:solidFill>
                <a:srgbClr val="FF0000"/>
              </a:solidFill>
              <a:effectLst/>
              <a:latin typeface="Roboto" panose="02000000000000000000" pitchFamily="2" charset="0"/>
            </a:endParaRPr>
          </a:p>
          <a:p>
            <a:r>
              <a:rPr lang="en-US" sz="16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Mid-Term Load Forecast during Winter Storm Elliott (Calvin Opheim)</a:t>
            </a:r>
          </a:p>
          <a:p>
            <a:r>
              <a:rPr lang="en-US" sz="16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Annual DG Report Follow-up (Clayton Stice)</a:t>
            </a:r>
          </a:p>
          <a:p>
            <a:r>
              <a:rPr lang="en-US" sz="16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CDR and Summer SARA Review (Pete Warnken)</a:t>
            </a:r>
          </a:p>
          <a:p>
            <a:r>
              <a:rPr lang="en-US" sz="16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Summer 2023 Reserve Risk Model Results (Pete Warnken)</a:t>
            </a:r>
          </a:p>
          <a:p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Status of CDR NPRR (Pete Warnken)</a:t>
            </a:r>
          </a:p>
          <a:p>
            <a:r>
              <a:rPr lang="en-US" sz="16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Reliability Standard Modeling/VOLL RFP Update (Pete Warnken)</a:t>
            </a:r>
          </a:p>
          <a:p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	VOLL study will be awarded by June 12</a:t>
            </a:r>
            <a:endParaRPr lang="en-US" sz="1600" b="0" i="0" dirty="0">
              <a:solidFill>
                <a:srgbClr val="212529"/>
              </a:solidFill>
              <a:effectLst/>
              <a:latin typeface="Roboto" panose="02000000000000000000" pitchFamily="2" charset="0"/>
            </a:endParaRPr>
          </a:p>
          <a:p>
            <a:endParaRPr lang="en-US" sz="1600" b="0" i="0" dirty="0">
              <a:solidFill>
                <a:srgbClr val="212529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FA23CE4-79EC-4498-A433-3571B651B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317348748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A6F890-192F-4495-95FE-E7EA7DADA0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8"/>
            <a:ext cx="3779020" cy="5088573"/>
          </a:xfrm>
        </p:spPr>
        <p:txBody>
          <a:bodyPr/>
          <a:lstStyle/>
          <a:p>
            <a:r>
              <a:rPr lang="en-US" dirty="0"/>
              <a:t>Load forecast error during Winter Storm Elliott occurred by a combination of: </a:t>
            </a:r>
          </a:p>
          <a:p>
            <a:pPr marL="457200" indent="-457200">
              <a:buAutoNum type="arabicParenR"/>
            </a:pPr>
            <a:r>
              <a:rPr lang="en-US" dirty="0"/>
              <a:t>software upgrades not adequately tested, and </a:t>
            </a:r>
          </a:p>
          <a:p>
            <a:pPr marL="457200" indent="-457200">
              <a:buAutoNum type="arabicParenR"/>
            </a:pPr>
            <a:r>
              <a:rPr lang="en-US" dirty="0"/>
              <a:t>some of the forecasts were unusable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CD6C1B-3C18-4BBD-9056-72F40A1C6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Mid-Term Load Forecast during Winter Storm Elliott 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3A61B6C-A707-439F-920B-9BF060FD7F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6708" y="1322041"/>
            <a:ext cx="6351800" cy="4887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82649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A6F890-192F-4495-95FE-E7EA7DADA0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010108"/>
            <a:ext cx="10637019" cy="6442789"/>
          </a:xfrm>
        </p:spPr>
        <p:txBody>
          <a:bodyPr/>
          <a:lstStyle/>
          <a:p>
            <a:r>
              <a:rPr lang="en-US" dirty="0"/>
              <a:t>Corrective actions currently planned:</a:t>
            </a:r>
          </a:p>
          <a:p>
            <a:pPr marL="457200" indent="-457200">
              <a:buAutoNum type="arabicParenR"/>
            </a:pPr>
            <a:r>
              <a:rPr lang="en-US" dirty="0"/>
              <a:t>Reduce forecast errors from alternative load forecasting source (currently the GE models A3, A6) </a:t>
            </a:r>
          </a:p>
          <a:p>
            <a:pPr marL="457200" indent="-457200">
              <a:buAutoNum type="arabicParenR"/>
            </a:pPr>
            <a:r>
              <a:rPr lang="en-US" dirty="0"/>
              <a:t>Develop an innovative process for developing extreme cold weather forecasts</a:t>
            </a:r>
          </a:p>
          <a:p>
            <a:pPr marL="457200" indent="-457200">
              <a:buAutoNum type="arabicParenR"/>
            </a:pPr>
            <a:r>
              <a:rPr lang="en-US" dirty="0"/>
              <a:t>Reduce weather forecast error</a:t>
            </a:r>
          </a:p>
          <a:p>
            <a:pPr marL="457200" indent="-457200">
              <a:buAutoNum type="arabicParenR"/>
            </a:pPr>
            <a:r>
              <a:rPr lang="en-US" dirty="0"/>
              <a:t>Improve </a:t>
            </a:r>
            <a:r>
              <a:rPr lang="en-US" dirty="0" err="1"/>
              <a:t>Itron</a:t>
            </a:r>
            <a:r>
              <a:rPr lang="en-US" dirty="0"/>
              <a:t> software upgrade testing process</a:t>
            </a:r>
          </a:p>
          <a:p>
            <a:r>
              <a:rPr lang="en-US" dirty="0"/>
              <a:t>Actual peak load on 12/23/2022 was 73,910 MW at 0900 (highest ERCOT forecast two days prior was 67,574 MW)</a:t>
            </a:r>
          </a:p>
          <a:p>
            <a:r>
              <a:rPr lang="en-US" dirty="0"/>
              <a:t>If we would have had Uri type weather, load forecast would have been closer to 81 GWs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CD6C1B-3C18-4BBD-9056-72F40A1C6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Mid-Term Load Forecast during Winter Storm Elliott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232867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BD25587-CB81-4123-89CF-427C643C3D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4949" y="2756575"/>
            <a:ext cx="5170789" cy="385466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2D70CA5-772D-4F08-81B5-2244F95B74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2200" y="207341"/>
            <a:ext cx="4564117" cy="3452089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A6F890-192F-4495-95FE-E7EA7DADA0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7"/>
            <a:ext cx="5387102" cy="1682512"/>
          </a:xfrm>
        </p:spPr>
        <p:txBody>
          <a:bodyPr/>
          <a:lstStyle/>
          <a:p>
            <a:r>
              <a:rPr lang="en-US" dirty="0"/>
              <a:t>Currently 3,850 MWs of DG</a:t>
            </a:r>
          </a:p>
          <a:p>
            <a:r>
              <a:rPr lang="en-US" dirty="0"/>
              <a:t>Solar PV DG is currently &gt;2 GWs (forecasted to increase to 6 GWs by 2032)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CD6C1B-3C18-4BBD-9056-72F40A1C6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Annual DG Report Follow-u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90335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A6F890-192F-4495-95FE-E7EA7DADA0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424518"/>
            <a:ext cx="3857848" cy="4411464"/>
          </a:xfrm>
        </p:spPr>
        <p:txBody>
          <a:bodyPr/>
          <a:lstStyle/>
          <a:p>
            <a:r>
              <a:rPr lang="en-US" sz="2000" dirty="0"/>
              <a:t>Summer 2024 Reserve Margin came down 5.8% from November 2022 to May 2023 mainly due to delayed Solar projects</a:t>
            </a:r>
          </a:p>
          <a:p>
            <a:r>
              <a:rPr lang="en-US" sz="2000" dirty="0"/>
              <a:t>It is assumed that Large Flexible Loads does not consume power during peak load hours</a:t>
            </a:r>
          </a:p>
          <a:p>
            <a:r>
              <a:rPr lang="en-US" sz="2000" dirty="0"/>
              <a:t>U.S. EPA pending/proposed regs that may impact the availability of fossil-fueled generation unit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CD6C1B-3C18-4BBD-9056-72F40A1C6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CDR and Summer SARA Review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9D32625-B00E-4807-B0AC-9514CE0DA2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30110" y="1142561"/>
            <a:ext cx="7074835" cy="5364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08729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A6F890-192F-4495-95FE-E7EA7DADA0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424518"/>
            <a:ext cx="3857848" cy="2359620"/>
          </a:xfrm>
        </p:spPr>
        <p:txBody>
          <a:bodyPr/>
          <a:lstStyle/>
          <a:p>
            <a:r>
              <a:rPr lang="en-US" sz="2000" dirty="0"/>
              <a:t>Most extreme summer SARA scenario shows a nearly 9 GW shortage</a:t>
            </a:r>
          </a:p>
          <a:p>
            <a:r>
              <a:rPr lang="en-US" sz="2000" dirty="0"/>
              <a:t>In this scenario, peak load is ~86.8 GWs, thermal outages are ~11.2 GWs, wind is ~0 MWs, and solar is ~12.6 GW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CD6C1B-3C18-4BBD-9056-72F40A1C6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CDR and Summer SARA Review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2EF73EA-EB39-433A-9650-5ADC33B917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47736" y="931281"/>
            <a:ext cx="7312089" cy="5492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3391817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A6F890-192F-4495-95FE-E7EA7DADA0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8"/>
            <a:ext cx="3715958" cy="4729500"/>
          </a:xfrm>
        </p:spPr>
        <p:txBody>
          <a:bodyPr/>
          <a:lstStyle/>
          <a:p>
            <a:r>
              <a:rPr lang="en-US" sz="1800" dirty="0"/>
              <a:t>Large Flexible Loads</a:t>
            </a:r>
          </a:p>
          <a:p>
            <a:r>
              <a:rPr lang="en-US" sz="1800" dirty="0"/>
              <a:t>For the peak demand forecast, 220 MW is the amount of stand alone LFLs that are expected to be curtailed for the summer peak demand hour</a:t>
            </a:r>
          </a:p>
          <a:p>
            <a:r>
              <a:rPr lang="en-US" sz="1800" dirty="0"/>
              <a:t>220 MW = (1,500 MW + 700 MW growth by Summer 2023) x 10%</a:t>
            </a:r>
          </a:p>
          <a:p>
            <a:r>
              <a:rPr lang="en-US" sz="1800" dirty="0"/>
              <a:t>Due to more recent information regarding LFL interconnections and behavior, ERCOT decided to update both the stand-alone and co-located using the same interim methodology for consistency</a:t>
            </a:r>
          </a:p>
          <a:p>
            <a:endParaRPr lang="en-US" sz="20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CD6C1B-3C18-4BBD-9056-72F40A1C6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CDR and Summer SARA Review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A6A709F-6FA7-42E6-A175-872C195323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45918" y="1072054"/>
            <a:ext cx="6876540" cy="5139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82368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CCD6C1B-3C18-4BBD-9056-72F40A1C6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CDR and Summer SARA Review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017413E-9F90-4253-9BE1-BACD3E51B6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4838" y="1010109"/>
            <a:ext cx="9840896" cy="5359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19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7037&quot;&gt;&lt;version val=&quot;3256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Ncz6CVYWrYD789LJ_g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tuOilFu0w7I84mS_.V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YZhZ1.XlBfmwqwWYo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Ncz6CVYWrYD789LJ_g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YZhZ1.XlBfmwqwWYoGA"/>
</p:tagLst>
</file>

<file path=ppt/theme/theme1.xml><?xml version="1.0" encoding="utf-8"?>
<a:theme xmlns:a="http://schemas.openxmlformats.org/drawingml/2006/main" name="US NG_2018 PPT__EnergyLines Template 16x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563C1"/>
      </a:hlink>
      <a:folHlink>
        <a:srgbClr val="954F72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PT EnergyLines 16x9" id="{02A2C634-F83B-4667-9013-9940280A62A9}" vid="{5009B880-53A3-441F-8D33-BFBDCF9468D3}"/>
    </a:ext>
  </a:extLst>
</a:theme>
</file>

<file path=ppt/theme/theme2.xml><?xml version="1.0" encoding="utf-8"?>
<a:theme xmlns:a="http://schemas.openxmlformats.org/drawingml/2006/main" name="US NG_2018 PPT_Energy Lines Template 16x9">
  <a:themeElements>
    <a:clrScheme name="Custom 4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0148C"/>
      </a:hlink>
      <a:folHlink>
        <a:srgbClr val="00148C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1" id="{05694B61-54A4-4E95-9753-F44547B9B716}" vid="{66BFABEB-5D5F-4F04-9007-6B2E63E31DFF}"/>
    </a:ext>
  </a:extLst>
</a:theme>
</file>

<file path=ppt/theme/theme3.xml><?xml version="1.0" encoding="utf-8"?>
<a:theme xmlns:a="http://schemas.openxmlformats.org/drawingml/2006/main" name="1_US NG_2018 PPT_Energy Lines Template 16x9">
  <a:themeElements>
    <a:clrScheme name="Custom 4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0148C"/>
      </a:hlink>
      <a:folHlink>
        <a:srgbClr val="00148C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1" id="{05694B61-54A4-4E95-9753-F44547B9B716}" vid="{66BFABEB-5D5F-4F04-9007-6B2E63E31DFF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C217B65CDFCE4CA575B84210C98C75" ma:contentTypeVersion="11" ma:contentTypeDescription="Create a new document." ma:contentTypeScope="" ma:versionID="01bc001749ed38fc1f855522dd7c6f1e">
  <xsd:schema xmlns:xsd="http://www.w3.org/2001/XMLSchema" xmlns:xs="http://www.w3.org/2001/XMLSchema" xmlns:p="http://schemas.microsoft.com/office/2006/metadata/properties" xmlns:ns2="e05e7fb9-d0e6-4ab6-b560-888fcb485524" xmlns:ns3="2d3d4732-a288-4eb3-92ed-f68c40ba596f" targetNamespace="http://schemas.microsoft.com/office/2006/metadata/properties" ma:root="true" ma:fieldsID="7f8727be0e5b919fc4bd2c3bf4b8fce9" ns2:_="" ns3:_="">
    <xsd:import namespace="e05e7fb9-d0e6-4ab6-b560-888fcb485524"/>
    <xsd:import namespace="2d3d4732-a288-4eb3-92ed-f68c40ba596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5e7fb9-d0e6-4ab6-b560-888fcb48552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3d4732-a288-4eb3-92ed-f68c40ba596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>
  <documentManagement>
    <SharedWithUsers xmlns="2d3d4732-a288-4eb3-92ed-f68c40ba596f">
      <UserInfo>
        <DisplayName>Semal, Clara</DisplayName>
        <AccountId>485</AccountId>
        <AccountType/>
      </UserInfo>
      <UserInfo>
        <DisplayName>McCormick, Terry</DisplayName>
        <AccountId>22</AccountId>
        <AccountType/>
      </UserInfo>
      <UserInfo>
        <DisplayName>Saunders, Nick</DisplayName>
        <AccountId>63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B13AA91-3831-4D9E-B60D-7249B6D4E725}">
  <ds:schemaRefs>
    <ds:schemaRef ds:uri="2d3d4732-a288-4eb3-92ed-f68c40ba596f"/>
    <ds:schemaRef ds:uri="e05e7fb9-d0e6-4ab6-b560-888fcb48552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E04DA17-4FAB-418C-88AF-EBB5C20EE5F3}">
  <ds:schemaRefs>
    <ds:schemaRef ds:uri="http://purl.org/dc/terms/"/>
    <ds:schemaRef ds:uri="e05e7fb9-d0e6-4ab6-b560-888fcb485524"/>
    <ds:schemaRef ds:uri="http://purl.org/dc/elements/1.1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office/2006/documentManagement/types"/>
    <ds:schemaRef ds:uri="2d3d4732-a288-4eb3-92ed-f68c40ba596f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641989E3-E6A5-48A2-8585-F2FA39FD2E5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werPoint draft template 16x9</Template>
  <TotalTime>1553</TotalTime>
  <Words>561</Words>
  <Application>Microsoft Office PowerPoint</Application>
  <PresentationFormat>Widescreen</PresentationFormat>
  <Paragraphs>50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Calibri</vt:lpstr>
      <vt:lpstr>Roboto</vt:lpstr>
      <vt:lpstr>US NG_2018 PPT__EnergyLines Template 16x9</vt:lpstr>
      <vt:lpstr>US NG_2018 PPT_Energy Lines Template 16x9</vt:lpstr>
      <vt:lpstr>1_US NG_2018 PPT_Energy Lines Template 16x9</vt:lpstr>
      <vt:lpstr>think-cell Slide</vt:lpstr>
      <vt:lpstr>Supply Analysis Working Group Update June 2023 Update to WMS  </vt:lpstr>
      <vt:lpstr>Overview</vt:lpstr>
      <vt:lpstr>Mid-Term Load Forecast during Winter Storm Elliott </vt:lpstr>
      <vt:lpstr>Mid-Term Load Forecast during Winter Storm Elliott </vt:lpstr>
      <vt:lpstr>Annual DG Report Follow-up</vt:lpstr>
      <vt:lpstr>CDR and Summer SARA Review</vt:lpstr>
      <vt:lpstr>CDR and Summer SARA Review</vt:lpstr>
      <vt:lpstr>CDR and Summer SARA Review</vt:lpstr>
      <vt:lpstr>CDR and Summer SARA Review</vt:lpstr>
      <vt:lpstr>Summer 2023 Reserve Risk Model Results</vt:lpstr>
      <vt:lpstr>PowerPoint Presentation</vt:lpstr>
    </vt:vector>
  </TitlesOfParts>
  <Company>National Gri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ard and Committee PowerPoint Draft Template</dc:title>
  <dc:creator>Saunders, Karen</dc:creator>
  <cp:lastModifiedBy>Kevin</cp:lastModifiedBy>
  <cp:revision>6</cp:revision>
  <cp:lastPrinted>2018-08-10T07:16:05Z</cp:lastPrinted>
  <dcterms:created xsi:type="dcterms:W3CDTF">2021-05-20T11:21:33Z</dcterms:created>
  <dcterms:modified xsi:type="dcterms:W3CDTF">2023-06-01T21:03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7CC217B65CDFCE4CA575B84210C98C75</vt:lpwstr>
  </property>
  <property fmtid="{D5CDD505-2E9C-101B-9397-08002B2CF9AE}" pid="4" name="Order">
    <vt:r8>17755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dlc_policyId">
    <vt:lpwstr/>
  </property>
  <property fmtid="{D5CDD505-2E9C-101B-9397-08002B2CF9AE}" pid="10" name="ItemRetentionFormula">
    <vt:lpwstr/>
  </property>
  <property fmtid="{D5CDD505-2E9C-101B-9397-08002B2CF9AE}" pid="11" name="_dlc_DocIdItemGuid">
    <vt:lpwstr>d004208b-03c6-48b5-89f2-0b221f829cae</vt:lpwstr>
  </property>
  <property fmtid="{D5CDD505-2E9C-101B-9397-08002B2CF9AE}" pid="12" name="Business Areas">
    <vt:lpwstr>114;#Group Legal and Company Secretariat|fe1c60f5-cbc5-49d1-aea2-9bb3d35271af</vt:lpwstr>
  </property>
  <property fmtid="{D5CDD505-2E9C-101B-9397-08002B2CF9AE}" pid="13" name="Document Categories">
    <vt:lpwstr>58;#Template|bb203242-d1ea-4b7c-baec-f6b6c36ad46a</vt:lpwstr>
  </property>
  <property fmtid="{D5CDD505-2E9C-101B-9397-08002B2CF9AE}" pid="14" name="Topics">
    <vt:lpwstr>112;#About us|b902a50f-cfcc-411c-9d60-9078b33d113f</vt:lpwstr>
  </property>
  <property fmtid="{D5CDD505-2E9C-101B-9397-08002B2CF9AE}" pid="15" name="Locations">
    <vt:lpwstr>11;#United Kingdom|92f25aa8-55c2-40bf-9172-4a299f89b05a;#21;#United States|8fef47f8-cb6c-4de5-bc11-508784361bd5</vt:lpwstr>
  </property>
</Properties>
</file>